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2.xml" ContentType="application/vnd.openxmlformats-officedocument.theme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3.xml" ContentType="application/vnd.openxmlformats-officedocument.them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4.xml" ContentType="application/vnd.openxmlformats-officedocument.theme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theme/theme5.xml" ContentType="application/vnd.openxmlformats-officedocument.theme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283" r:id="rId4"/>
    <p:sldMasterId id="2147484483" r:id="rId5"/>
    <p:sldMasterId id="2147484517" r:id="rId6"/>
    <p:sldMasterId id="2147484556" r:id="rId7"/>
    <p:sldMasterId id="2147484588" r:id="rId8"/>
  </p:sldMasterIdLst>
  <p:notesMasterIdLst>
    <p:notesMasterId r:id="rId44"/>
  </p:notesMasterIdLst>
  <p:handoutMasterIdLst>
    <p:handoutMasterId r:id="rId45"/>
  </p:handoutMasterIdLst>
  <p:sldIdLst>
    <p:sldId id="275" r:id="rId9"/>
    <p:sldId id="2145705832" r:id="rId10"/>
    <p:sldId id="2145705869" r:id="rId11"/>
    <p:sldId id="2145705873" r:id="rId12"/>
    <p:sldId id="2145705872" r:id="rId13"/>
    <p:sldId id="2145705874" r:id="rId14"/>
    <p:sldId id="2145705876" r:id="rId15"/>
    <p:sldId id="2145705877" r:id="rId16"/>
    <p:sldId id="2145705879" r:id="rId17"/>
    <p:sldId id="2145705878" r:id="rId18"/>
    <p:sldId id="2145705880" r:id="rId19"/>
    <p:sldId id="2145705881" r:id="rId20"/>
    <p:sldId id="2145705882" r:id="rId21"/>
    <p:sldId id="2145705883" r:id="rId22"/>
    <p:sldId id="2145705886" r:id="rId23"/>
    <p:sldId id="2145705887" r:id="rId24"/>
    <p:sldId id="2145705875" r:id="rId25"/>
    <p:sldId id="2145705888" r:id="rId26"/>
    <p:sldId id="2145705889" r:id="rId27"/>
    <p:sldId id="2145705890" r:id="rId28"/>
    <p:sldId id="2145705891" r:id="rId29"/>
    <p:sldId id="2145705892" r:id="rId30"/>
    <p:sldId id="2145705893" r:id="rId31"/>
    <p:sldId id="2145705894" r:id="rId32"/>
    <p:sldId id="2145705895" r:id="rId33"/>
    <p:sldId id="2145705896" r:id="rId34"/>
    <p:sldId id="2145705897" r:id="rId35"/>
    <p:sldId id="2145705898" r:id="rId36"/>
    <p:sldId id="2145705899" r:id="rId37"/>
    <p:sldId id="2145705900" r:id="rId38"/>
    <p:sldId id="2145705901" r:id="rId39"/>
    <p:sldId id="2145705903" r:id="rId40"/>
    <p:sldId id="2145705902" r:id="rId41"/>
    <p:sldId id="2145705904" r:id="rId42"/>
    <p:sldId id="2145705905" r:id="rId43"/>
  </p:sldIdLst>
  <p:sldSz cx="12192000" cy="6858000"/>
  <p:notesSz cx="6858000" cy="9144000"/>
  <p:custDataLst>
    <p:tags r:id="rId4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189" userDrawn="1">
          <p15:clr>
            <a:srgbClr val="A4A3A4"/>
          </p15:clr>
        </p15:guide>
        <p15:guide id="4" pos="7491" userDrawn="1">
          <p15:clr>
            <a:srgbClr val="A4A3A4"/>
          </p15:clr>
        </p15:guide>
        <p15:guide id="5" orient="horz" pos="799" userDrawn="1">
          <p15:clr>
            <a:srgbClr val="A4A3A4"/>
          </p15:clr>
        </p15:guide>
        <p15:guide id="6" orient="horz" pos="4020" userDrawn="1">
          <p15:clr>
            <a:srgbClr val="A4A3A4"/>
          </p15:clr>
        </p15:guide>
        <p15:guide id="7" pos="892" userDrawn="1">
          <p15:clr>
            <a:srgbClr val="A4A3A4"/>
          </p15:clr>
        </p15:guide>
        <p15:guide id="8" pos="678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ia P. Abello" initials="MPA" lastIdx="10" clrIdx="0">
    <p:extLst>
      <p:ext uri="{19B8F6BF-5375-455C-9EA6-DF929625EA0E}">
        <p15:presenceInfo xmlns:p15="http://schemas.microsoft.com/office/powerpoint/2012/main" userId="S-1-5-21-1214407262-1492470052-313073093-53673" providerId="AD"/>
      </p:ext>
    </p:extLst>
  </p:cmAuthor>
  <p:cmAuthor id="2" name="Edwin Elberg" initials="EE" lastIdx="94" clrIdx="1">
    <p:extLst>
      <p:ext uri="{19B8F6BF-5375-455C-9EA6-DF929625EA0E}">
        <p15:presenceInfo xmlns:p15="http://schemas.microsoft.com/office/powerpoint/2012/main" userId="S-1-5-21-1214407262-1492470052-313073093-53344" providerId="AD"/>
      </p:ext>
    </p:extLst>
  </p:cmAuthor>
  <p:cmAuthor id="3" name="Autor" initials="A" lastIdx="1299" clrIdx="2"/>
  <p:cmAuthor id="4" name="Manon Veenbaas" initials="MV" lastIdx="2" clrIdx="3">
    <p:extLst>
      <p:ext uri="{19B8F6BF-5375-455C-9EA6-DF929625EA0E}">
        <p15:presenceInfo xmlns:p15="http://schemas.microsoft.com/office/powerpoint/2012/main" userId="S-1-5-21-1214407262-1492470052-313073093-67280" providerId="AD"/>
      </p:ext>
    </p:extLst>
  </p:cmAuthor>
  <p:cmAuthor id="5" name="Edwin Geofrey Elberg Adler" initials="EGEA" lastIdx="21" clrIdx="4">
    <p:extLst>
      <p:ext uri="{19B8F6BF-5375-455C-9EA6-DF929625EA0E}">
        <p15:presenceInfo xmlns:p15="http://schemas.microsoft.com/office/powerpoint/2012/main" userId="S::eelberg@vtr.cl::2878b473-4026-4bb1-9124-8fb0d9dfddb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1A16"/>
    <a:srgbClr val="000000"/>
    <a:srgbClr val="004F9F"/>
    <a:srgbClr val="FFFFFF"/>
    <a:srgbClr val="FF4100"/>
    <a:srgbClr val="C0C0C0"/>
    <a:srgbClr val="D83C8A"/>
    <a:srgbClr val="831F82"/>
    <a:srgbClr val="B9DCFF"/>
    <a:srgbClr val="3E383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167C924-D7D0-4440-B40E-9A3AAD7549A9}" v="29" dt="2025-10-01T14:49:57.55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CF1AB2-1976-4502-BF36-3FF5EA218861}" styleName="Estilo medio 4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B301B821-A1FF-4177-AEE7-76D212191A09}" styleName="Estilo medio 1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16DA210-FB5B-4158-B5E0-FEB733F419BA}" styleName="Estilo claro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017" autoAdjust="0"/>
    <p:restoredTop sz="93447" autoAdjust="0"/>
  </p:normalViewPr>
  <p:slideViewPr>
    <p:cSldViewPr snapToGrid="0">
      <p:cViewPr varScale="1">
        <p:scale>
          <a:sx n="102" d="100"/>
          <a:sy n="102" d="100"/>
        </p:scale>
        <p:origin x="548" y="288"/>
      </p:cViewPr>
      <p:guideLst>
        <p:guide orient="horz" pos="2160"/>
        <p:guide pos="3840"/>
        <p:guide pos="189"/>
        <p:guide pos="7491"/>
        <p:guide orient="horz" pos="799"/>
        <p:guide orient="horz" pos="4020"/>
        <p:guide pos="892"/>
        <p:guide pos="6788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slide" Target="slides/slide34.xml"/><Relationship Id="rId47" Type="http://schemas.openxmlformats.org/officeDocument/2006/relationships/commentAuthors" Target="commentAuthors.xml"/><Relationship Id="rId50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9" Type="http://schemas.openxmlformats.org/officeDocument/2006/relationships/slide" Target="slides/slide21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handoutMaster" Target="handoutMasters/handoutMaster1.xml"/><Relationship Id="rId53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notesMaster" Target="notesMasters/notesMaster1.xml"/><Relationship Id="rId52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slide" Target="slides/slide35.xml"/><Relationship Id="rId48" Type="http://schemas.openxmlformats.org/officeDocument/2006/relationships/presProps" Target="presProps.xml"/><Relationship Id="rId8" Type="http://schemas.openxmlformats.org/officeDocument/2006/relationships/slideMaster" Target="slideMasters/slideMaster5.xml"/><Relationship Id="rId51" Type="http://schemas.openxmlformats.org/officeDocument/2006/relationships/tableStyles" Target="tableStyles.xml"/><Relationship Id="rId3" Type="http://schemas.openxmlformats.org/officeDocument/2006/relationships/customXml" Target="../customXml/item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tags" Target="tags/tag1.xml"/><Relationship Id="rId20" Type="http://schemas.openxmlformats.org/officeDocument/2006/relationships/slide" Target="slides/slide12.xml"/><Relationship Id="rId41" Type="http://schemas.openxmlformats.org/officeDocument/2006/relationships/slide" Target="slides/slide3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amilton Stewart Rodríguez Parra" userId="9d47022e6f4561a5" providerId="Windows Live" clId="Web-{79DEEF65-5D32-CED1-3C27-7D4CB66E4C3A}"/>
    <pc:docChg chg="addSld delSld modSld sldOrd">
      <pc:chgData name="Hamilton Stewart Rodríguez Parra" userId="9d47022e6f4561a5" providerId="Windows Live" clId="Web-{79DEEF65-5D32-CED1-3C27-7D4CB66E4C3A}" dt="2025-07-22T16:01:09.285" v="377" actId="1076"/>
      <pc:docMkLst>
        <pc:docMk/>
      </pc:docMkLst>
      <pc:sldChg chg="modSp">
        <pc:chgData name="Hamilton Stewart Rodríguez Parra" userId="9d47022e6f4561a5" providerId="Windows Live" clId="Web-{79DEEF65-5D32-CED1-3C27-7D4CB66E4C3A}" dt="2025-07-22T12:09:51.086" v="17" actId="14100"/>
        <pc:sldMkLst>
          <pc:docMk/>
          <pc:sldMk cId="857024924" sldId="275"/>
        </pc:sldMkLst>
      </pc:sldChg>
      <pc:sldChg chg="addSp delSp modSp">
        <pc:chgData name="Hamilton Stewart Rodríguez Parra" userId="9d47022e6f4561a5" providerId="Windows Live" clId="Web-{79DEEF65-5D32-CED1-3C27-7D4CB66E4C3A}" dt="2025-07-22T16:01:09.285" v="377" actId="1076"/>
        <pc:sldMkLst>
          <pc:docMk/>
          <pc:sldMk cId="138811212" sldId="2145705832"/>
        </pc:sldMkLst>
      </pc:sldChg>
      <pc:sldChg chg="del">
        <pc:chgData name="Hamilton Stewart Rodríguez Parra" userId="9d47022e6f4561a5" providerId="Windows Live" clId="Web-{79DEEF65-5D32-CED1-3C27-7D4CB66E4C3A}" dt="2025-07-22T14:37:01.797" v="228"/>
        <pc:sldMkLst>
          <pc:docMk/>
          <pc:sldMk cId="1174161901" sldId="2145705835"/>
        </pc:sldMkLst>
      </pc:sldChg>
      <pc:sldChg chg="addSp delSp modSp">
        <pc:chgData name="Hamilton Stewart Rodríguez Parra" userId="9d47022e6f4561a5" providerId="Windows Live" clId="Web-{79DEEF65-5D32-CED1-3C27-7D4CB66E4C3A}" dt="2025-07-22T13:22:52.215" v="141"/>
        <pc:sldMkLst>
          <pc:docMk/>
          <pc:sldMk cId="1576575548" sldId="2145705836"/>
        </pc:sldMkLst>
      </pc:sldChg>
      <pc:sldChg chg="del">
        <pc:chgData name="Hamilton Stewart Rodríguez Parra" userId="9d47022e6f4561a5" providerId="Windows Live" clId="Web-{79DEEF65-5D32-CED1-3C27-7D4CB66E4C3A}" dt="2025-07-22T14:37:01.797" v="227"/>
        <pc:sldMkLst>
          <pc:docMk/>
          <pc:sldMk cId="805799168" sldId="2145705837"/>
        </pc:sldMkLst>
      </pc:sldChg>
      <pc:sldChg chg="del">
        <pc:chgData name="Hamilton Stewart Rodríguez Parra" userId="9d47022e6f4561a5" providerId="Windows Live" clId="Web-{79DEEF65-5D32-CED1-3C27-7D4CB66E4C3A}" dt="2025-07-22T14:37:01.797" v="222"/>
        <pc:sldMkLst>
          <pc:docMk/>
          <pc:sldMk cId="253399744" sldId="2145705838"/>
        </pc:sldMkLst>
      </pc:sldChg>
      <pc:sldChg chg="del">
        <pc:chgData name="Hamilton Stewart Rodríguez Parra" userId="9d47022e6f4561a5" providerId="Windows Live" clId="Web-{79DEEF65-5D32-CED1-3C27-7D4CB66E4C3A}" dt="2025-07-22T14:37:01.797" v="224"/>
        <pc:sldMkLst>
          <pc:docMk/>
          <pc:sldMk cId="1061534771" sldId="2145705839"/>
        </pc:sldMkLst>
      </pc:sldChg>
      <pc:sldChg chg="del">
        <pc:chgData name="Hamilton Stewart Rodríguez Parra" userId="9d47022e6f4561a5" providerId="Windows Live" clId="Web-{79DEEF65-5D32-CED1-3C27-7D4CB66E4C3A}" dt="2025-07-22T14:37:01.797" v="223"/>
        <pc:sldMkLst>
          <pc:docMk/>
          <pc:sldMk cId="1932159061" sldId="2145705840"/>
        </pc:sldMkLst>
      </pc:sldChg>
      <pc:sldChg chg="del">
        <pc:chgData name="Hamilton Stewart Rodríguez Parra" userId="9d47022e6f4561a5" providerId="Windows Live" clId="Web-{79DEEF65-5D32-CED1-3C27-7D4CB66E4C3A}" dt="2025-07-22T14:37:01.797" v="226"/>
        <pc:sldMkLst>
          <pc:docMk/>
          <pc:sldMk cId="4258674718" sldId="2145705841"/>
        </pc:sldMkLst>
      </pc:sldChg>
      <pc:sldChg chg="del">
        <pc:chgData name="Hamilton Stewart Rodríguez Parra" userId="9d47022e6f4561a5" providerId="Windows Live" clId="Web-{79DEEF65-5D32-CED1-3C27-7D4CB66E4C3A}" dt="2025-07-22T14:37:01.797" v="225"/>
        <pc:sldMkLst>
          <pc:docMk/>
          <pc:sldMk cId="1385118724" sldId="2145705842"/>
        </pc:sldMkLst>
      </pc:sldChg>
      <pc:sldChg chg="del">
        <pc:chgData name="Hamilton Stewart Rodríguez Parra" userId="9d47022e6f4561a5" providerId="Windows Live" clId="Web-{79DEEF65-5D32-CED1-3C27-7D4CB66E4C3A}" dt="2025-07-22T14:37:01.797" v="221"/>
        <pc:sldMkLst>
          <pc:docMk/>
          <pc:sldMk cId="2528418816" sldId="2145705843"/>
        </pc:sldMkLst>
      </pc:sldChg>
      <pc:sldChg chg="del">
        <pc:chgData name="Hamilton Stewart Rodríguez Parra" userId="9d47022e6f4561a5" providerId="Windows Live" clId="Web-{79DEEF65-5D32-CED1-3C27-7D4CB66E4C3A}" dt="2025-07-22T14:37:01.797" v="220"/>
        <pc:sldMkLst>
          <pc:docMk/>
          <pc:sldMk cId="4097153010" sldId="2145705844"/>
        </pc:sldMkLst>
      </pc:sldChg>
      <pc:sldChg chg="del">
        <pc:chgData name="Hamilton Stewart Rodríguez Parra" userId="9d47022e6f4561a5" providerId="Windows Live" clId="Web-{79DEEF65-5D32-CED1-3C27-7D4CB66E4C3A}" dt="2025-07-22T14:37:01.782" v="219"/>
        <pc:sldMkLst>
          <pc:docMk/>
          <pc:sldMk cId="820685486" sldId="2145705845"/>
        </pc:sldMkLst>
      </pc:sldChg>
      <pc:sldChg chg="del">
        <pc:chgData name="Hamilton Stewart Rodríguez Parra" userId="9d47022e6f4561a5" providerId="Windows Live" clId="Web-{79DEEF65-5D32-CED1-3C27-7D4CB66E4C3A}" dt="2025-07-22T14:37:01.782" v="216"/>
        <pc:sldMkLst>
          <pc:docMk/>
          <pc:sldMk cId="2567271911" sldId="2145705846"/>
        </pc:sldMkLst>
      </pc:sldChg>
      <pc:sldChg chg="del">
        <pc:chgData name="Hamilton Stewart Rodríguez Parra" userId="9d47022e6f4561a5" providerId="Windows Live" clId="Web-{79DEEF65-5D32-CED1-3C27-7D4CB66E4C3A}" dt="2025-07-22T14:37:01.782" v="209"/>
        <pc:sldMkLst>
          <pc:docMk/>
          <pc:sldMk cId="2452410328" sldId="2145705848"/>
        </pc:sldMkLst>
      </pc:sldChg>
      <pc:sldChg chg="del">
        <pc:chgData name="Hamilton Stewart Rodríguez Parra" userId="9d47022e6f4561a5" providerId="Windows Live" clId="Web-{79DEEF65-5D32-CED1-3C27-7D4CB66E4C3A}" dt="2025-07-22T14:37:01.782" v="218"/>
        <pc:sldMkLst>
          <pc:docMk/>
          <pc:sldMk cId="1909390008" sldId="2145705850"/>
        </pc:sldMkLst>
      </pc:sldChg>
      <pc:sldChg chg="del">
        <pc:chgData name="Hamilton Stewart Rodríguez Parra" userId="9d47022e6f4561a5" providerId="Windows Live" clId="Web-{79DEEF65-5D32-CED1-3C27-7D4CB66E4C3A}" dt="2025-07-22T14:37:01.782" v="217"/>
        <pc:sldMkLst>
          <pc:docMk/>
          <pc:sldMk cId="97457363" sldId="2145705851"/>
        </pc:sldMkLst>
      </pc:sldChg>
      <pc:sldChg chg="del">
        <pc:chgData name="Hamilton Stewart Rodríguez Parra" userId="9d47022e6f4561a5" providerId="Windows Live" clId="Web-{79DEEF65-5D32-CED1-3C27-7D4CB66E4C3A}" dt="2025-07-22T14:37:01.782" v="215"/>
        <pc:sldMkLst>
          <pc:docMk/>
          <pc:sldMk cId="2132042571" sldId="2145705852"/>
        </pc:sldMkLst>
      </pc:sldChg>
      <pc:sldChg chg="del">
        <pc:chgData name="Hamilton Stewart Rodríguez Parra" userId="9d47022e6f4561a5" providerId="Windows Live" clId="Web-{79DEEF65-5D32-CED1-3C27-7D4CB66E4C3A}" dt="2025-07-22T14:37:01.782" v="214"/>
        <pc:sldMkLst>
          <pc:docMk/>
          <pc:sldMk cId="3002438400" sldId="2145705853"/>
        </pc:sldMkLst>
      </pc:sldChg>
      <pc:sldChg chg="del">
        <pc:chgData name="Hamilton Stewart Rodríguez Parra" userId="9d47022e6f4561a5" providerId="Windows Live" clId="Web-{79DEEF65-5D32-CED1-3C27-7D4CB66E4C3A}" dt="2025-07-22T14:37:01.782" v="213"/>
        <pc:sldMkLst>
          <pc:docMk/>
          <pc:sldMk cId="3568815488" sldId="2145705854"/>
        </pc:sldMkLst>
      </pc:sldChg>
      <pc:sldChg chg="del">
        <pc:chgData name="Hamilton Stewart Rodríguez Parra" userId="9d47022e6f4561a5" providerId="Windows Live" clId="Web-{79DEEF65-5D32-CED1-3C27-7D4CB66E4C3A}" dt="2025-07-22T14:37:01.782" v="212"/>
        <pc:sldMkLst>
          <pc:docMk/>
          <pc:sldMk cId="45499549" sldId="2145705855"/>
        </pc:sldMkLst>
      </pc:sldChg>
      <pc:sldChg chg="del">
        <pc:chgData name="Hamilton Stewart Rodríguez Parra" userId="9d47022e6f4561a5" providerId="Windows Live" clId="Web-{79DEEF65-5D32-CED1-3C27-7D4CB66E4C3A}" dt="2025-07-22T14:37:01.782" v="211"/>
        <pc:sldMkLst>
          <pc:docMk/>
          <pc:sldMk cId="1933211623" sldId="2145705856"/>
        </pc:sldMkLst>
      </pc:sldChg>
      <pc:sldChg chg="del">
        <pc:chgData name="Hamilton Stewart Rodríguez Parra" userId="9d47022e6f4561a5" providerId="Windows Live" clId="Web-{79DEEF65-5D32-CED1-3C27-7D4CB66E4C3A}" dt="2025-07-22T14:37:01.782" v="210"/>
        <pc:sldMkLst>
          <pc:docMk/>
          <pc:sldMk cId="1057248796" sldId="2145705857"/>
        </pc:sldMkLst>
      </pc:sldChg>
      <pc:sldChg chg="del">
        <pc:chgData name="Hamilton Stewart Rodríguez Parra" userId="9d47022e6f4561a5" providerId="Windows Live" clId="Web-{79DEEF65-5D32-CED1-3C27-7D4CB66E4C3A}" dt="2025-07-22T14:37:01.782" v="208"/>
        <pc:sldMkLst>
          <pc:docMk/>
          <pc:sldMk cId="3407856218" sldId="2145705858"/>
        </pc:sldMkLst>
      </pc:sldChg>
      <pc:sldChg chg="addSp modSp add replId">
        <pc:chgData name="Hamilton Stewart Rodríguez Parra" userId="9d47022e6f4561a5" providerId="Windows Live" clId="Web-{79DEEF65-5D32-CED1-3C27-7D4CB66E4C3A}" dt="2025-07-22T14:47:27.441" v="251" actId="1076"/>
        <pc:sldMkLst>
          <pc:docMk/>
          <pc:sldMk cId="2132975493" sldId="2145705859"/>
        </pc:sldMkLst>
      </pc:sldChg>
      <pc:sldChg chg="addSp modSp add ord replId">
        <pc:chgData name="Hamilton Stewart Rodríguez Parra" userId="9d47022e6f4561a5" providerId="Windows Live" clId="Web-{79DEEF65-5D32-CED1-3C27-7D4CB66E4C3A}" dt="2025-07-22T15:53:04.564" v="367"/>
        <pc:sldMkLst>
          <pc:docMk/>
          <pc:sldMk cId="1577805932" sldId="2145705860"/>
        </pc:sldMkLst>
      </pc:sldChg>
      <pc:sldChg chg="addSp delSp modSp add ord replId">
        <pc:chgData name="Hamilton Stewart Rodríguez Parra" userId="9d47022e6f4561a5" providerId="Windows Live" clId="Web-{79DEEF65-5D32-CED1-3C27-7D4CB66E4C3A}" dt="2025-07-22T15:52:26.298" v="364"/>
        <pc:sldMkLst>
          <pc:docMk/>
          <pc:sldMk cId="2821006872" sldId="2145705861"/>
        </pc:sldMkLst>
      </pc:sldChg>
      <pc:sldChg chg="modSp add del replId">
        <pc:chgData name="Hamilton Stewart Rodríguez Parra" userId="9d47022e6f4561a5" providerId="Windows Live" clId="Web-{79DEEF65-5D32-CED1-3C27-7D4CB66E4C3A}" dt="2025-07-22T14:36:54.313" v="207"/>
        <pc:sldMkLst>
          <pc:docMk/>
          <pc:sldMk cId="2044327708" sldId="2145705862"/>
        </pc:sldMkLst>
      </pc:sldChg>
      <pc:sldChg chg="addSp delSp modSp add ord replId">
        <pc:chgData name="Hamilton Stewart Rodríguez Parra" userId="9d47022e6f4561a5" providerId="Windows Live" clId="Web-{79DEEF65-5D32-CED1-3C27-7D4CB66E4C3A}" dt="2025-07-22T15:52:36.970" v="366"/>
        <pc:sldMkLst>
          <pc:docMk/>
          <pc:sldMk cId="2333665196" sldId="2145705863"/>
        </pc:sldMkLst>
      </pc:sldChg>
      <pc:sldChg chg="addSp delSp modSp add replId">
        <pc:chgData name="Hamilton Stewart Rodríguez Parra" userId="9d47022e6f4561a5" providerId="Windows Live" clId="Web-{79DEEF65-5D32-CED1-3C27-7D4CB66E4C3A}" dt="2025-07-22T14:16:59.776" v="206" actId="1076"/>
        <pc:sldMkLst>
          <pc:docMk/>
          <pc:sldMk cId="785341915" sldId="2145705864"/>
        </pc:sldMkLst>
      </pc:sldChg>
      <pc:sldChg chg="addSp delSp modSp add replId">
        <pc:chgData name="Hamilton Stewart Rodríguez Parra" userId="9d47022e6f4561a5" providerId="Windows Live" clId="Web-{79DEEF65-5D32-CED1-3C27-7D4CB66E4C3A}" dt="2025-07-22T15:48:55.297" v="352" actId="1076"/>
        <pc:sldMkLst>
          <pc:docMk/>
          <pc:sldMk cId="3581387757" sldId="2145705865"/>
        </pc:sldMkLst>
      </pc:sldChg>
      <pc:sldChg chg="addSp delSp modSp add replId">
        <pc:chgData name="Hamilton Stewart Rodríguez Parra" userId="9d47022e6f4561a5" providerId="Windows Live" clId="Web-{79DEEF65-5D32-CED1-3C27-7D4CB66E4C3A}" dt="2025-07-22T15:54:10.392" v="371"/>
        <pc:sldMkLst>
          <pc:docMk/>
          <pc:sldMk cId="1546539351" sldId="2145705866"/>
        </pc:sldMkLst>
      </pc:sldChg>
      <pc:sldChg chg="addSp delSp modSp add replId">
        <pc:chgData name="Hamilton Stewart Rodríguez Parra" userId="9d47022e6f4561a5" providerId="Windows Live" clId="Web-{79DEEF65-5D32-CED1-3C27-7D4CB66E4C3A}" dt="2025-07-22T15:44:22.076" v="324" actId="1076"/>
        <pc:sldMkLst>
          <pc:docMk/>
          <pc:sldMk cId="259963827" sldId="2145705867"/>
        </pc:sldMkLst>
      </pc:sldChg>
      <pc:sldChg chg="add del replId">
        <pc:chgData name="Hamilton Stewart Rodríguez Parra" userId="9d47022e6f4561a5" providerId="Windows Live" clId="Web-{79DEEF65-5D32-CED1-3C27-7D4CB66E4C3A}" dt="2025-07-22T15:44:33.608" v="325"/>
        <pc:sldMkLst>
          <pc:docMk/>
          <pc:sldMk cId="3747441064" sldId="2145705868"/>
        </pc:sldMkLst>
      </pc:sldChg>
    </pc:docChg>
  </pc:docChgLst>
  <pc:docChgLst>
    <pc:chgData name="Hamilton Rodriguez" userId="f71b9de3-2009-44e3-9598-cd76df76ca85" providerId="ADAL" clId="{DA94863B-2D99-4260-A2D3-677E49E36ADA}"/>
    <pc:docChg chg="custSel addSld modSld">
      <pc:chgData name="Hamilton Rodriguez" userId="f71b9de3-2009-44e3-9598-cd76df76ca85" providerId="ADAL" clId="{DA94863B-2D99-4260-A2D3-677E49E36ADA}" dt="2025-07-30T18:47:37.614" v="445" actId="6549"/>
      <pc:docMkLst>
        <pc:docMk/>
      </pc:docMkLst>
      <pc:sldChg chg="modSp mod">
        <pc:chgData name="Hamilton Rodriguez" userId="f71b9de3-2009-44e3-9598-cd76df76ca85" providerId="ADAL" clId="{DA94863B-2D99-4260-A2D3-677E49E36ADA}" dt="2025-07-30T14:29:49.802" v="5" actId="20577"/>
        <pc:sldMkLst>
          <pc:docMk/>
          <pc:sldMk cId="857024924" sldId="275"/>
        </pc:sldMkLst>
      </pc:sldChg>
      <pc:sldChg chg="addSp delSp modSp add mod modShow">
        <pc:chgData name="Hamilton Rodriguez" userId="f71b9de3-2009-44e3-9598-cd76df76ca85" providerId="ADAL" clId="{DA94863B-2D99-4260-A2D3-677E49E36ADA}" dt="2025-07-30T18:47:37.614" v="445" actId="6549"/>
        <pc:sldMkLst>
          <pc:docMk/>
          <pc:sldMk cId="4000256887" sldId="2145705868"/>
        </pc:sldMkLst>
      </pc:sldChg>
    </pc:docChg>
  </pc:docChgLst>
  <pc:docChgLst>
    <pc:chgData name="Miguel A. Rubiano" userId="5de3eca7-df65-45ab-9fac-21fe3414869d" providerId="ADAL" clId="{E7C5C7AC-5581-4595-9269-BFD9D6D7BD46}"/>
    <pc:docChg chg="undo custSel addSld delSld modSld sldOrd">
      <pc:chgData name="Miguel A. Rubiano" userId="5de3eca7-df65-45ab-9fac-21fe3414869d" providerId="ADAL" clId="{E7C5C7AC-5581-4595-9269-BFD9D6D7BD46}" dt="2025-04-08T14:44:18.667" v="1006" actId="255"/>
      <pc:docMkLst>
        <pc:docMk/>
      </pc:docMkLst>
      <pc:sldChg chg="modSp mod">
        <pc:chgData name="Miguel A. Rubiano" userId="5de3eca7-df65-45ab-9fac-21fe3414869d" providerId="ADAL" clId="{E7C5C7AC-5581-4595-9269-BFD9D6D7BD46}" dt="2025-04-07T21:33:29.752" v="671" actId="6549"/>
        <pc:sldMkLst>
          <pc:docMk/>
          <pc:sldMk cId="2640578046" sldId="2145705803"/>
        </pc:sldMkLst>
      </pc:sldChg>
      <pc:sldChg chg="addSp delSp modSp mod setBg">
        <pc:chgData name="Miguel A. Rubiano" userId="5de3eca7-df65-45ab-9fac-21fe3414869d" providerId="ADAL" clId="{E7C5C7AC-5581-4595-9269-BFD9D6D7BD46}" dt="2025-04-08T13:32:35.614" v="737" actId="478"/>
        <pc:sldMkLst>
          <pc:docMk/>
          <pc:sldMk cId="3658824876" sldId="2145705807"/>
        </pc:sldMkLst>
      </pc:sldChg>
      <pc:sldChg chg="modSp setBg">
        <pc:chgData name="Miguel A. Rubiano" userId="5de3eca7-df65-45ab-9fac-21fe3414869d" providerId="ADAL" clId="{E7C5C7AC-5581-4595-9269-BFD9D6D7BD46}" dt="2025-04-08T13:31:31.840" v="733"/>
        <pc:sldMkLst>
          <pc:docMk/>
          <pc:sldMk cId="904865137" sldId="2145705808"/>
        </pc:sldMkLst>
      </pc:sldChg>
      <pc:sldChg chg="modSp setBg">
        <pc:chgData name="Miguel A. Rubiano" userId="5de3eca7-df65-45ab-9fac-21fe3414869d" providerId="ADAL" clId="{E7C5C7AC-5581-4595-9269-BFD9D6D7BD46}" dt="2025-04-08T13:34:03.453" v="743"/>
        <pc:sldMkLst>
          <pc:docMk/>
          <pc:sldMk cId="2372554428" sldId="2145705809"/>
        </pc:sldMkLst>
      </pc:sldChg>
      <pc:sldChg chg="addSp delSp modSp add mod">
        <pc:chgData name="Miguel A. Rubiano" userId="5de3eca7-df65-45ab-9fac-21fe3414869d" providerId="ADAL" clId="{E7C5C7AC-5581-4595-9269-BFD9D6D7BD46}" dt="2025-04-07T20:31:38.947" v="363" actId="123"/>
        <pc:sldMkLst>
          <pc:docMk/>
          <pc:sldMk cId="1270399109" sldId="2145705810"/>
        </pc:sldMkLst>
      </pc:sldChg>
      <pc:sldChg chg="addSp delSp modSp add mod">
        <pc:chgData name="Miguel A. Rubiano" userId="5de3eca7-df65-45ab-9fac-21fe3414869d" providerId="ADAL" clId="{E7C5C7AC-5581-4595-9269-BFD9D6D7BD46}" dt="2025-04-07T20:31:35.486" v="362" actId="123"/>
        <pc:sldMkLst>
          <pc:docMk/>
          <pc:sldMk cId="4036913859" sldId="2145705811"/>
        </pc:sldMkLst>
      </pc:sldChg>
      <pc:sldChg chg="addSp delSp modSp add mod">
        <pc:chgData name="Miguel A. Rubiano" userId="5de3eca7-df65-45ab-9fac-21fe3414869d" providerId="ADAL" clId="{E7C5C7AC-5581-4595-9269-BFD9D6D7BD46}" dt="2025-04-07T20:34:14.949" v="430" actId="20577"/>
        <pc:sldMkLst>
          <pc:docMk/>
          <pc:sldMk cId="2097962941" sldId="2145705812"/>
        </pc:sldMkLst>
      </pc:sldChg>
      <pc:sldChg chg="modSp add mod ord">
        <pc:chgData name="Miguel A. Rubiano" userId="5de3eca7-df65-45ab-9fac-21fe3414869d" providerId="ADAL" clId="{E7C5C7AC-5581-4595-9269-BFD9D6D7BD46}" dt="2025-04-07T20:40:06.824" v="443" actId="20577"/>
        <pc:sldMkLst>
          <pc:docMk/>
          <pc:sldMk cId="1233773939" sldId="2145705813"/>
        </pc:sldMkLst>
      </pc:sldChg>
      <pc:sldChg chg="modSp add mod ord">
        <pc:chgData name="Miguel A. Rubiano" userId="5de3eca7-df65-45ab-9fac-21fe3414869d" providerId="ADAL" clId="{E7C5C7AC-5581-4595-9269-BFD9D6D7BD46}" dt="2025-04-07T21:01:16.913" v="484" actId="20577"/>
        <pc:sldMkLst>
          <pc:docMk/>
          <pc:sldMk cId="3237364529" sldId="2145705814"/>
        </pc:sldMkLst>
      </pc:sldChg>
      <pc:sldChg chg="modSp add mod ord">
        <pc:chgData name="Miguel A. Rubiano" userId="5de3eca7-df65-45ab-9fac-21fe3414869d" providerId="ADAL" clId="{E7C5C7AC-5581-4595-9269-BFD9D6D7BD46}" dt="2025-04-07T21:17:23.265" v="603" actId="6549"/>
        <pc:sldMkLst>
          <pc:docMk/>
          <pc:sldMk cId="3494367151" sldId="2145705815"/>
        </pc:sldMkLst>
      </pc:sldChg>
      <pc:sldChg chg="addSp delSp modSp add mod">
        <pc:chgData name="Miguel A. Rubiano" userId="5de3eca7-df65-45ab-9fac-21fe3414869d" providerId="ADAL" clId="{E7C5C7AC-5581-4595-9269-BFD9D6D7BD46}" dt="2025-04-07T21:25:37.930" v="654" actId="20577"/>
        <pc:sldMkLst>
          <pc:docMk/>
          <pc:sldMk cId="2010565102" sldId="2145705816"/>
        </pc:sldMkLst>
      </pc:sldChg>
      <pc:sldChg chg="addSp delSp modSp add mod">
        <pc:chgData name="Miguel A. Rubiano" userId="5de3eca7-df65-45ab-9fac-21fe3414869d" providerId="ADAL" clId="{E7C5C7AC-5581-4595-9269-BFD9D6D7BD46}" dt="2025-04-07T21:34:32.730" v="678"/>
        <pc:sldMkLst>
          <pc:docMk/>
          <pc:sldMk cId="75812208" sldId="2145705817"/>
        </pc:sldMkLst>
      </pc:sldChg>
      <pc:sldChg chg="addSp delSp modSp add mod">
        <pc:chgData name="Miguel A. Rubiano" userId="5de3eca7-df65-45ab-9fac-21fe3414869d" providerId="ADAL" clId="{E7C5C7AC-5581-4595-9269-BFD9D6D7BD46}" dt="2025-04-07T21:44:58.815" v="696" actId="20577"/>
        <pc:sldMkLst>
          <pc:docMk/>
          <pc:sldMk cId="3766438650" sldId="2145705818"/>
        </pc:sldMkLst>
      </pc:sldChg>
      <pc:sldChg chg="addSp delSp modSp add mod">
        <pc:chgData name="Miguel A. Rubiano" userId="5de3eca7-df65-45ab-9fac-21fe3414869d" providerId="ADAL" clId="{E7C5C7AC-5581-4595-9269-BFD9D6D7BD46}" dt="2025-04-07T21:52:05.943" v="717" actId="6549"/>
        <pc:sldMkLst>
          <pc:docMk/>
          <pc:sldMk cId="2770535136" sldId="2145705819"/>
        </pc:sldMkLst>
      </pc:sldChg>
      <pc:sldChg chg="addSp delSp modSp add mod">
        <pc:chgData name="Miguel A. Rubiano" userId="5de3eca7-df65-45ab-9fac-21fe3414869d" providerId="ADAL" clId="{E7C5C7AC-5581-4595-9269-BFD9D6D7BD46}" dt="2025-04-08T13:29:34.074" v="729" actId="20577"/>
        <pc:sldMkLst>
          <pc:docMk/>
          <pc:sldMk cId="458804073" sldId="2145705820"/>
        </pc:sldMkLst>
      </pc:sldChg>
      <pc:sldChg chg="addSp delSp modSp mod">
        <pc:chgData name="Miguel A. Rubiano" userId="5de3eca7-df65-45ab-9fac-21fe3414869d" providerId="ADAL" clId="{E7C5C7AC-5581-4595-9269-BFD9D6D7BD46}" dt="2025-04-08T13:31:21.951" v="731"/>
        <pc:sldMkLst>
          <pc:docMk/>
          <pc:sldMk cId="1780953469" sldId="2145705821"/>
        </pc:sldMkLst>
      </pc:sldChg>
      <pc:sldChg chg="addSp delSp modSp add mod">
        <pc:chgData name="Miguel A. Rubiano" userId="5de3eca7-df65-45ab-9fac-21fe3414869d" providerId="ADAL" clId="{E7C5C7AC-5581-4595-9269-BFD9D6D7BD46}" dt="2025-04-08T13:33:44.094" v="742" actId="6549"/>
        <pc:sldMkLst>
          <pc:docMk/>
          <pc:sldMk cId="193963335" sldId="2145705822"/>
        </pc:sldMkLst>
      </pc:sldChg>
      <pc:sldChg chg="addSp delSp modSp add del mod">
        <pc:chgData name="Miguel A. Rubiano" userId="5de3eca7-df65-45ab-9fac-21fe3414869d" providerId="ADAL" clId="{E7C5C7AC-5581-4595-9269-BFD9D6D7BD46}" dt="2025-04-08T13:39:49.284" v="755" actId="47"/>
        <pc:sldMkLst>
          <pc:docMk/>
          <pc:sldMk cId="3142858518" sldId="2145705823"/>
        </pc:sldMkLst>
      </pc:sldChg>
      <pc:sldChg chg="del">
        <pc:chgData name="Miguel A. Rubiano" userId="5de3eca7-df65-45ab-9fac-21fe3414869d" providerId="ADAL" clId="{E7C5C7AC-5581-4595-9269-BFD9D6D7BD46}" dt="2025-04-08T13:37:16.335" v="746" actId="47"/>
        <pc:sldMkLst>
          <pc:docMk/>
          <pc:sldMk cId="3901438177" sldId="2145705824"/>
        </pc:sldMkLst>
      </pc:sldChg>
      <pc:sldChg chg="addSp delSp modSp mod">
        <pc:chgData name="Miguel A. Rubiano" userId="5de3eca7-df65-45ab-9fac-21fe3414869d" providerId="ADAL" clId="{E7C5C7AC-5581-4595-9269-BFD9D6D7BD46}" dt="2025-04-08T13:39:44.831" v="754"/>
        <pc:sldMkLst>
          <pc:docMk/>
          <pc:sldMk cId="1958191667" sldId="2145705825"/>
        </pc:sldMkLst>
      </pc:sldChg>
      <pc:sldChg chg="del">
        <pc:chgData name="Miguel A. Rubiano" userId="5de3eca7-df65-45ab-9fac-21fe3414869d" providerId="ADAL" clId="{E7C5C7AC-5581-4595-9269-BFD9D6D7BD46}" dt="2025-04-08T13:38:53.356" v="749"/>
        <pc:sldMkLst>
          <pc:docMk/>
          <pc:sldMk cId="1127370420" sldId="2145705826"/>
        </pc:sldMkLst>
      </pc:sldChg>
      <pc:sldChg chg="addSp delSp modSp add mod ord">
        <pc:chgData name="Miguel A. Rubiano" userId="5de3eca7-df65-45ab-9fac-21fe3414869d" providerId="ADAL" clId="{E7C5C7AC-5581-4595-9269-BFD9D6D7BD46}" dt="2025-04-08T14:43:50.432" v="1003" actId="6549"/>
        <pc:sldMkLst>
          <pc:docMk/>
          <pc:sldMk cId="2440363482" sldId="2145705826"/>
        </pc:sldMkLst>
      </pc:sldChg>
      <pc:sldChg chg="del">
        <pc:chgData name="Miguel A. Rubiano" userId="5de3eca7-df65-45ab-9fac-21fe3414869d" providerId="ADAL" clId="{E7C5C7AC-5581-4595-9269-BFD9D6D7BD46}" dt="2025-04-08T13:39:12.603" v="750" actId="47"/>
        <pc:sldMkLst>
          <pc:docMk/>
          <pc:sldMk cId="3856456991" sldId="2145705826"/>
        </pc:sldMkLst>
      </pc:sldChg>
      <pc:sldChg chg="addSp delSp modSp add mod">
        <pc:chgData name="Miguel A. Rubiano" userId="5de3eca7-df65-45ab-9fac-21fe3414869d" providerId="ADAL" clId="{E7C5C7AC-5581-4595-9269-BFD9D6D7BD46}" dt="2025-04-08T14:44:18.667" v="1006" actId="255"/>
        <pc:sldMkLst>
          <pc:docMk/>
          <pc:sldMk cId="1543593803" sldId="2145705827"/>
        </pc:sldMkLst>
      </pc:sldChg>
    </pc:docChg>
  </pc:docChgLst>
  <pc:docChgLst>
    <pc:chgData name="Cristian Garcia" userId="S::1802957@cwc.com::5e397fa2-8630-4b06-a080-b147e45b66cb" providerId="AD" clId="Web-{6DAFDD4D-1952-4668-B298-B6E3FCBFE0E3}"/>
    <pc:docChg chg="modSld">
      <pc:chgData name="Cristian Garcia" userId="S::1802957@cwc.com::5e397fa2-8630-4b06-a080-b147e45b66cb" providerId="AD" clId="Web-{6DAFDD4D-1952-4668-B298-B6E3FCBFE0E3}" dt="2025-04-07T20:52:04.303" v="59" actId="20577"/>
      <pc:docMkLst>
        <pc:docMk/>
      </pc:docMkLst>
      <pc:sldChg chg="modSp">
        <pc:chgData name="Cristian Garcia" userId="S::1802957@cwc.com::5e397fa2-8630-4b06-a080-b147e45b66cb" providerId="AD" clId="Web-{6DAFDD4D-1952-4668-B298-B6E3FCBFE0E3}" dt="2025-04-07T20:52:04.303" v="59" actId="20577"/>
        <pc:sldMkLst>
          <pc:docMk/>
          <pc:sldMk cId="2071833582" sldId="2145705806"/>
        </pc:sldMkLst>
      </pc:sldChg>
    </pc:docChg>
  </pc:docChgLst>
  <pc:docChgLst>
    <pc:chgData name="Hamilton Rodriguez" userId="f71b9de3-2009-44e3-9598-cd76df76ca85" providerId="ADAL" clId="{EF0A4D70-080F-41CE-9651-BDC94ECD3741}"/>
    <pc:docChg chg="addSld modSld">
      <pc:chgData name="Hamilton Rodriguez" userId="f71b9de3-2009-44e3-9598-cd76df76ca85" providerId="ADAL" clId="{EF0A4D70-080F-41CE-9651-BDC94ECD3741}" dt="2025-07-21T16:31:30.312" v="4"/>
      <pc:docMkLst>
        <pc:docMk/>
      </pc:docMkLst>
      <pc:sldChg chg="addSp">
        <pc:chgData name="Hamilton Rodriguez" userId="f71b9de3-2009-44e3-9598-cd76df76ca85" providerId="ADAL" clId="{EF0A4D70-080F-41CE-9651-BDC94ECD3741}" dt="2025-07-21T15:25:28.454" v="0"/>
        <pc:sldMkLst>
          <pc:docMk/>
          <pc:sldMk cId="857024924" sldId="275"/>
        </pc:sldMkLst>
      </pc:sldChg>
      <pc:sldChg chg="add setBg">
        <pc:chgData name="Hamilton Rodriguez" userId="f71b9de3-2009-44e3-9598-cd76df76ca85" providerId="ADAL" clId="{EF0A4D70-080F-41CE-9651-BDC94ECD3741}" dt="2025-07-21T15:29:30.665" v="1"/>
        <pc:sldMkLst>
          <pc:docMk/>
          <pc:sldMk cId="1645612131" sldId="2145705828"/>
        </pc:sldMkLst>
      </pc:sldChg>
      <pc:sldChg chg="add setBg">
        <pc:chgData name="Hamilton Rodriguez" userId="f71b9de3-2009-44e3-9598-cd76df76ca85" providerId="ADAL" clId="{EF0A4D70-080F-41CE-9651-BDC94ECD3741}" dt="2025-07-21T15:29:30.665" v="1"/>
        <pc:sldMkLst>
          <pc:docMk/>
          <pc:sldMk cId="2158410841" sldId="2145705829"/>
        </pc:sldMkLst>
      </pc:sldChg>
      <pc:sldChg chg="add">
        <pc:chgData name="Hamilton Rodriguez" userId="f71b9de3-2009-44e3-9598-cd76df76ca85" providerId="ADAL" clId="{EF0A4D70-080F-41CE-9651-BDC94ECD3741}" dt="2025-07-21T16:30:59.567" v="2"/>
        <pc:sldMkLst>
          <pc:docMk/>
          <pc:sldMk cId="2643906840" sldId="2145705830"/>
        </pc:sldMkLst>
      </pc:sldChg>
      <pc:sldChg chg="add">
        <pc:chgData name="Hamilton Rodriguez" userId="f71b9de3-2009-44e3-9598-cd76df76ca85" providerId="ADAL" clId="{EF0A4D70-080F-41CE-9651-BDC94ECD3741}" dt="2025-07-21T16:31:29.595" v="3"/>
        <pc:sldMkLst>
          <pc:docMk/>
          <pc:sldMk cId="2479444405" sldId="2145705831"/>
        </pc:sldMkLst>
      </pc:sldChg>
      <pc:sldChg chg="add">
        <pc:chgData name="Hamilton Rodriguez" userId="f71b9de3-2009-44e3-9598-cd76df76ca85" providerId="ADAL" clId="{EF0A4D70-080F-41CE-9651-BDC94ECD3741}" dt="2025-07-21T16:31:30.312" v="4"/>
        <pc:sldMkLst>
          <pc:docMk/>
          <pc:sldMk cId="138811212" sldId="2145705832"/>
        </pc:sldMkLst>
      </pc:sldChg>
    </pc:docChg>
  </pc:docChgLst>
  <pc:docChgLst>
    <pc:chgData name="Hamilton Rodriguez" userId="f71b9de3-2009-44e3-9598-cd76df76ca85" providerId="ADAL" clId="{5049A158-7AE1-42E5-BE5F-2F249479F89C}"/>
    <pc:docChg chg="undo custSel addSld delSld modSld sldOrd">
      <pc:chgData name="Hamilton Rodriguez" userId="f71b9de3-2009-44e3-9598-cd76df76ca85" providerId="ADAL" clId="{5049A158-7AE1-42E5-BE5F-2F249479F89C}" dt="2025-10-01T15:00:59.183" v="575" actId="1076"/>
      <pc:docMkLst>
        <pc:docMk/>
      </pc:docMkLst>
      <pc:sldChg chg="delSp modSp mod">
        <pc:chgData name="Hamilton Rodriguez" userId="f71b9de3-2009-44e3-9598-cd76df76ca85" providerId="ADAL" clId="{5049A158-7AE1-42E5-BE5F-2F249479F89C}" dt="2025-10-01T13:47:20.682" v="72" actId="1076"/>
        <pc:sldMkLst>
          <pc:docMk/>
          <pc:sldMk cId="857024924" sldId="275"/>
        </pc:sldMkLst>
        <pc:spChg chg="mod">
          <ac:chgData name="Hamilton Rodriguez" userId="f71b9de3-2009-44e3-9598-cd76df76ca85" providerId="ADAL" clId="{5049A158-7AE1-42E5-BE5F-2F249479F89C}" dt="2025-10-01T13:47:20.682" v="72" actId="1076"/>
          <ac:spMkLst>
            <pc:docMk/>
            <pc:sldMk cId="857024924" sldId="275"/>
            <ac:spMk id="3" creationId="{2365F299-A0A7-AC31-1B81-182831664551}"/>
          </ac:spMkLst>
        </pc:spChg>
        <pc:spChg chg="del mod">
          <ac:chgData name="Hamilton Rodriguez" userId="f71b9de3-2009-44e3-9598-cd76df76ca85" providerId="ADAL" clId="{5049A158-7AE1-42E5-BE5F-2F249479F89C}" dt="2025-10-01T10:13:40.300" v="59" actId="478"/>
          <ac:spMkLst>
            <pc:docMk/>
            <pc:sldMk cId="857024924" sldId="275"/>
            <ac:spMk id="5" creationId="{A645BF7B-5E89-18FD-5DD3-C262E7EB9D88}"/>
          </ac:spMkLst>
        </pc:spChg>
      </pc:sldChg>
      <pc:sldChg chg="addSp delSp modSp mod">
        <pc:chgData name="Hamilton Rodriguez" userId="f71b9de3-2009-44e3-9598-cd76df76ca85" providerId="ADAL" clId="{5049A158-7AE1-42E5-BE5F-2F249479F89C}" dt="2025-10-01T10:15:06.740" v="62" actId="1076"/>
        <pc:sldMkLst>
          <pc:docMk/>
          <pc:sldMk cId="138811212" sldId="2145705832"/>
        </pc:sldMkLst>
        <pc:picChg chg="del">
          <ac:chgData name="Hamilton Rodriguez" userId="f71b9de3-2009-44e3-9598-cd76df76ca85" providerId="ADAL" clId="{5049A158-7AE1-42E5-BE5F-2F249479F89C}" dt="2025-10-01T10:14:28.997" v="60" actId="478"/>
          <ac:picMkLst>
            <pc:docMk/>
            <pc:sldMk cId="138811212" sldId="2145705832"/>
            <ac:picMk id="3" creationId="{D051071F-5232-3ECE-17EC-2AEA87C61E67}"/>
          </ac:picMkLst>
        </pc:picChg>
        <pc:picChg chg="add mod">
          <ac:chgData name="Hamilton Rodriguez" userId="f71b9de3-2009-44e3-9598-cd76df76ca85" providerId="ADAL" clId="{5049A158-7AE1-42E5-BE5F-2F249479F89C}" dt="2025-10-01T10:15:06.740" v="62" actId="1076"/>
          <ac:picMkLst>
            <pc:docMk/>
            <pc:sldMk cId="138811212" sldId="2145705832"/>
            <ac:picMk id="7" creationId="{3323406F-7D8F-EDB0-8384-80D95C985D8B}"/>
          </ac:picMkLst>
        </pc:picChg>
      </pc:sldChg>
      <pc:sldChg chg="add del">
        <pc:chgData name="Hamilton Rodriguez" userId="f71b9de3-2009-44e3-9598-cd76df76ca85" providerId="ADAL" clId="{5049A158-7AE1-42E5-BE5F-2F249479F89C}" dt="2025-10-01T14:40:53.205" v="498" actId="47"/>
        <pc:sldMkLst>
          <pc:docMk/>
          <pc:sldMk cId="1576575548" sldId="2145705836"/>
        </pc:sldMkLst>
      </pc:sldChg>
      <pc:sldChg chg="del">
        <pc:chgData name="Hamilton Rodriguez" userId="f71b9de3-2009-44e3-9598-cd76df76ca85" providerId="ADAL" clId="{5049A158-7AE1-42E5-BE5F-2F249479F89C}" dt="2025-10-01T14:41:01.432" v="503" actId="47"/>
        <pc:sldMkLst>
          <pc:docMk/>
          <pc:sldMk cId="2132975493" sldId="2145705859"/>
        </pc:sldMkLst>
      </pc:sldChg>
      <pc:sldChg chg="del">
        <pc:chgData name="Hamilton Rodriguez" userId="f71b9de3-2009-44e3-9598-cd76df76ca85" providerId="ADAL" clId="{5049A158-7AE1-42E5-BE5F-2F249479F89C}" dt="2025-10-01T14:40:59.034" v="502" actId="47"/>
        <pc:sldMkLst>
          <pc:docMk/>
          <pc:sldMk cId="1577805932" sldId="2145705860"/>
        </pc:sldMkLst>
      </pc:sldChg>
      <pc:sldChg chg="del">
        <pc:chgData name="Hamilton Rodriguez" userId="f71b9de3-2009-44e3-9598-cd76df76ca85" providerId="ADAL" clId="{5049A158-7AE1-42E5-BE5F-2F249479F89C}" dt="2025-10-01T14:40:55.746" v="500" actId="47"/>
        <pc:sldMkLst>
          <pc:docMk/>
          <pc:sldMk cId="2821006872" sldId="2145705861"/>
        </pc:sldMkLst>
      </pc:sldChg>
      <pc:sldChg chg="del">
        <pc:chgData name="Hamilton Rodriguez" userId="f71b9de3-2009-44e3-9598-cd76df76ca85" providerId="ADAL" clId="{5049A158-7AE1-42E5-BE5F-2F249479F89C}" dt="2025-10-01T14:40:57.271" v="501" actId="47"/>
        <pc:sldMkLst>
          <pc:docMk/>
          <pc:sldMk cId="2333665196" sldId="2145705863"/>
        </pc:sldMkLst>
      </pc:sldChg>
      <pc:sldChg chg="del">
        <pc:chgData name="Hamilton Rodriguez" userId="f71b9de3-2009-44e3-9598-cd76df76ca85" providerId="ADAL" clId="{5049A158-7AE1-42E5-BE5F-2F249479F89C}" dt="2025-10-01T14:40:54.123" v="499" actId="47"/>
        <pc:sldMkLst>
          <pc:docMk/>
          <pc:sldMk cId="785341915" sldId="2145705864"/>
        </pc:sldMkLst>
      </pc:sldChg>
      <pc:sldChg chg="del">
        <pc:chgData name="Hamilton Rodriguez" userId="f71b9de3-2009-44e3-9598-cd76df76ca85" providerId="ADAL" clId="{5049A158-7AE1-42E5-BE5F-2F249479F89C}" dt="2025-10-01T14:41:06.054" v="504" actId="47"/>
        <pc:sldMkLst>
          <pc:docMk/>
          <pc:sldMk cId="3581387757" sldId="2145705865"/>
        </pc:sldMkLst>
      </pc:sldChg>
      <pc:sldChg chg="del">
        <pc:chgData name="Hamilton Rodriguez" userId="f71b9de3-2009-44e3-9598-cd76df76ca85" providerId="ADAL" clId="{5049A158-7AE1-42E5-BE5F-2F249479F89C}" dt="2025-10-01T14:41:06.054" v="504" actId="47"/>
        <pc:sldMkLst>
          <pc:docMk/>
          <pc:sldMk cId="1546539351" sldId="2145705866"/>
        </pc:sldMkLst>
      </pc:sldChg>
      <pc:sldChg chg="del">
        <pc:chgData name="Hamilton Rodriguez" userId="f71b9de3-2009-44e3-9598-cd76df76ca85" providerId="ADAL" clId="{5049A158-7AE1-42E5-BE5F-2F249479F89C}" dt="2025-10-01T14:41:06.054" v="504" actId="47"/>
        <pc:sldMkLst>
          <pc:docMk/>
          <pc:sldMk cId="259963827" sldId="2145705867"/>
        </pc:sldMkLst>
      </pc:sldChg>
      <pc:sldChg chg="del">
        <pc:chgData name="Hamilton Rodriguez" userId="f71b9de3-2009-44e3-9598-cd76df76ca85" providerId="ADAL" clId="{5049A158-7AE1-42E5-BE5F-2F249479F89C}" dt="2025-10-01T14:41:06.054" v="504" actId="47"/>
        <pc:sldMkLst>
          <pc:docMk/>
          <pc:sldMk cId="4000256887" sldId="2145705868"/>
        </pc:sldMkLst>
      </pc:sldChg>
      <pc:sldChg chg="addSp delSp modSp add mod ord">
        <pc:chgData name="Hamilton Rodriguez" userId="f71b9de3-2009-44e3-9598-cd76df76ca85" providerId="ADAL" clId="{5049A158-7AE1-42E5-BE5F-2F249479F89C}" dt="2025-10-01T14:00:54.107" v="281" actId="20577"/>
        <pc:sldMkLst>
          <pc:docMk/>
          <pc:sldMk cId="3554623742" sldId="2145705869"/>
        </pc:sldMkLst>
        <pc:spChg chg="mod">
          <ac:chgData name="Hamilton Rodriguez" userId="f71b9de3-2009-44e3-9598-cd76df76ca85" providerId="ADAL" clId="{5049A158-7AE1-42E5-BE5F-2F249479F89C}" dt="2025-10-01T13:49:14.258" v="145" actId="20577"/>
          <ac:spMkLst>
            <pc:docMk/>
            <pc:sldMk cId="3554623742" sldId="2145705869"/>
            <ac:spMk id="6" creationId="{4F8A1728-E059-666D-DCA5-6A2BD61D717B}"/>
          </ac:spMkLst>
        </pc:spChg>
        <pc:spChg chg="add del mod">
          <ac:chgData name="Hamilton Rodriguez" userId="f71b9de3-2009-44e3-9598-cd76df76ca85" providerId="ADAL" clId="{5049A158-7AE1-42E5-BE5F-2F249479F89C}" dt="2025-10-01T13:58:46.973" v="152"/>
          <ac:spMkLst>
            <pc:docMk/>
            <pc:sldMk cId="3554623742" sldId="2145705869"/>
            <ac:spMk id="8" creationId="{B9CF69F9-4665-E1CA-3826-B2A0DE8476EC}"/>
          </ac:spMkLst>
        </pc:spChg>
        <pc:spChg chg="del">
          <ac:chgData name="Hamilton Rodriguez" userId="f71b9de3-2009-44e3-9598-cd76df76ca85" providerId="ADAL" clId="{5049A158-7AE1-42E5-BE5F-2F249479F89C}" dt="2025-10-01T13:48:14.757" v="75" actId="478"/>
          <ac:spMkLst>
            <pc:docMk/>
            <pc:sldMk cId="3554623742" sldId="2145705869"/>
            <ac:spMk id="9" creationId="{BC7E707D-588D-B058-A390-8661DFF10F6C}"/>
          </ac:spMkLst>
        </pc:spChg>
        <pc:spChg chg="add mod">
          <ac:chgData name="Hamilton Rodriguez" userId="f71b9de3-2009-44e3-9598-cd76df76ca85" providerId="ADAL" clId="{5049A158-7AE1-42E5-BE5F-2F249479F89C}" dt="2025-10-01T14:00:54.107" v="281" actId="20577"/>
          <ac:spMkLst>
            <pc:docMk/>
            <pc:sldMk cId="3554623742" sldId="2145705869"/>
            <ac:spMk id="10" creationId="{66DCE60A-9694-E014-3757-9996F4C0F06A}"/>
          </ac:spMkLst>
        </pc:spChg>
        <pc:picChg chg="del">
          <ac:chgData name="Hamilton Rodriguez" userId="f71b9de3-2009-44e3-9598-cd76df76ca85" providerId="ADAL" clId="{5049A158-7AE1-42E5-BE5F-2F249479F89C}" dt="2025-10-01T13:48:12.073" v="74" actId="478"/>
          <ac:picMkLst>
            <pc:docMk/>
            <pc:sldMk cId="3554623742" sldId="2145705869"/>
            <ac:picMk id="2" creationId="{16C14E59-D4BD-BC53-7F3F-32CDA0DEB8C0}"/>
          </ac:picMkLst>
        </pc:picChg>
        <pc:picChg chg="add mod">
          <ac:chgData name="Hamilton Rodriguez" userId="f71b9de3-2009-44e3-9598-cd76df76ca85" providerId="ADAL" clId="{5049A158-7AE1-42E5-BE5F-2F249479F89C}" dt="2025-10-01T13:57:39.321" v="148" actId="1076"/>
          <ac:picMkLst>
            <pc:docMk/>
            <pc:sldMk cId="3554623742" sldId="2145705869"/>
            <ac:picMk id="7" creationId="{6C12BA09-A935-AF1A-8D95-95175596E1B9}"/>
          </ac:picMkLst>
        </pc:picChg>
      </pc:sldChg>
      <pc:sldChg chg="add del">
        <pc:chgData name="Hamilton Rodriguez" userId="f71b9de3-2009-44e3-9598-cd76df76ca85" providerId="ADAL" clId="{5049A158-7AE1-42E5-BE5F-2F249479F89C}" dt="2025-10-01T14:01:53.215" v="285" actId="47"/>
        <pc:sldMkLst>
          <pc:docMk/>
          <pc:sldMk cId="3996450013" sldId="2145705870"/>
        </pc:sldMkLst>
      </pc:sldChg>
      <pc:sldChg chg="add del">
        <pc:chgData name="Hamilton Rodriguez" userId="f71b9de3-2009-44e3-9598-cd76df76ca85" providerId="ADAL" clId="{5049A158-7AE1-42E5-BE5F-2F249479F89C}" dt="2025-10-01T14:01:54.316" v="286" actId="47"/>
        <pc:sldMkLst>
          <pc:docMk/>
          <pc:sldMk cId="2008032866" sldId="2145705871"/>
        </pc:sldMkLst>
      </pc:sldChg>
      <pc:sldChg chg="addSp delSp modSp add mod">
        <pc:chgData name="Hamilton Rodriguez" userId="f71b9de3-2009-44e3-9598-cd76df76ca85" providerId="ADAL" clId="{5049A158-7AE1-42E5-BE5F-2F249479F89C}" dt="2025-10-01T14:19:54.560" v="399" actId="14100"/>
        <pc:sldMkLst>
          <pc:docMk/>
          <pc:sldMk cId="316477145" sldId="2145705872"/>
        </pc:sldMkLst>
        <pc:spChg chg="mod">
          <ac:chgData name="Hamilton Rodriguez" userId="f71b9de3-2009-44e3-9598-cd76df76ca85" providerId="ADAL" clId="{5049A158-7AE1-42E5-BE5F-2F249479F89C}" dt="2025-10-01T14:03:31.463" v="299" actId="20577"/>
          <ac:spMkLst>
            <pc:docMk/>
            <pc:sldMk cId="316477145" sldId="2145705872"/>
            <ac:spMk id="6" creationId="{D26D5D81-A7D0-7E7E-E5B1-8FAB87B5EDA8}"/>
          </ac:spMkLst>
        </pc:spChg>
        <pc:spChg chg="del">
          <ac:chgData name="Hamilton Rodriguez" userId="f71b9de3-2009-44e3-9598-cd76df76ca85" providerId="ADAL" clId="{5049A158-7AE1-42E5-BE5F-2F249479F89C}" dt="2025-10-01T14:01:51.119" v="284" actId="478"/>
          <ac:spMkLst>
            <pc:docMk/>
            <pc:sldMk cId="316477145" sldId="2145705872"/>
            <ac:spMk id="10" creationId="{7D51A42E-9348-9631-1A3D-97C7A775F2C8}"/>
          </ac:spMkLst>
        </pc:spChg>
        <pc:picChg chg="add mod">
          <ac:chgData name="Hamilton Rodriguez" userId="f71b9de3-2009-44e3-9598-cd76df76ca85" providerId="ADAL" clId="{5049A158-7AE1-42E5-BE5F-2F249479F89C}" dt="2025-10-01T14:19:49.310" v="397" actId="14100"/>
          <ac:picMkLst>
            <pc:docMk/>
            <pc:sldMk cId="316477145" sldId="2145705872"/>
            <ac:picMk id="3" creationId="{CDB71152-E637-DFEC-D14F-1E3AD4009DC0}"/>
          </ac:picMkLst>
        </pc:picChg>
        <pc:picChg chg="del">
          <ac:chgData name="Hamilton Rodriguez" userId="f71b9de3-2009-44e3-9598-cd76df76ca85" providerId="ADAL" clId="{5049A158-7AE1-42E5-BE5F-2F249479F89C}" dt="2025-10-01T14:01:49.517" v="283" actId="478"/>
          <ac:picMkLst>
            <pc:docMk/>
            <pc:sldMk cId="316477145" sldId="2145705872"/>
            <ac:picMk id="7" creationId="{C9354994-806F-F424-BF6F-E7C9793A98B9}"/>
          </ac:picMkLst>
        </pc:picChg>
        <pc:picChg chg="add mod">
          <ac:chgData name="Hamilton Rodriguez" userId="f71b9de3-2009-44e3-9598-cd76df76ca85" providerId="ADAL" clId="{5049A158-7AE1-42E5-BE5F-2F249479F89C}" dt="2025-10-01T14:19:52.225" v="398" actId="14100"/>
          <ac:picMkLst>
            <pc:docMk/>
            <pc:sldMk cId="316477145" sldId="2145705872"/>
            <ac:picMk id="9" creationId="{8B9FBFE4-7365-7ABA-9DD4-DA3AA10E3EC9}"/>
          </ac:picMkLst>
        </pc:picChg>
        <pc:picChg chg="add mod">
          <ac:chgData name="Hamilton Rodriguez" userId="f71b9de3-2009-44e3-9598-cd76df76ca85" providerId="ADAL" clId="{5049A158-7AE1-42E5-BE5F-2F249479F89C}" dt="2025-10-01T14:19:54.560" v="399" actId="14100"/>
          <ac:picMkLst>
            <pc:docMk/>
            <pc:sldMk cId="316477145" sldId="2145705872"/>
            <ac:picMk id="12" creationId="{C2E3AC1C-BCA5-7CCB-2885-0C1C0C5265DE}"/>
          </ac:picMkLst>
        </pc:picChg>
      </pc:sldChg>
      <pc:sldChg chg="addSp modSp add mod ord">
        <pc:chgData name="Hamilton Rodriguez" userId="f71b9de3-2009-44e3-9598-cd76df76ca85" providerId="ADAL" clId="{5049A158-7AE1-42E5-BE5F-2F249479F89C}" dt="2025-10-01T14:11:33.474" v="327" actId="1076"/>
        <pc:sldMkLst>
          <pc:docMk/>
          <pc:sldMk cId="2743623247" sldId="2145705873"/>
        </pc:sldMkLst>
        <pc:picChg chg="add mod">
          <ac:chgData name="Hamilton Rodriguez" userId="f71b9de3-2009-44e3-9598-cd76df76ca85" providerId="ADAL" clId="{5049A158-7AE1-42E5-BE5F-2F249479F89C}" dt="2025-10-01T14:11:33.474" v="327" actId="1076"/>
          <ac:picMkLst>
            <pc:docMk/>
            <pc:sldMk cId="2743623247" sldId="2145705873"/>
            <ac:picMk id="2" creationId="{53DB9508-1CBE-BDC6-F681-F8F1F22C5F44}"/>
          </ac:picMkLst>
        </pc:picChg>
        <pc:picChg chg="add mod">
          <ac:chgData name="Hamilton Rodriguez" userId="f71b9de3-2009-44e3-9598-cd76df76ca85" providerId="ADAL" clId="{5049A158-7AE1-42E5-BE5F-2F249479F89C}" dt="2025-10-01T14:11:31.874" v="326" actId="1076"/>
          <ac:picMkLst>
            <pc:docMk/>
            <pc:sldMk cId="2743623247" sldId="2145705873"/>
            <ac:picMk id="7" creationId="{9B2680A5-E15B-0AAF-5889-CE56CAEF8CCE}"/>
          </ac:picMkLst>
        </pc:picChg>
      </pc:sldChg>
      <pc:sldChg chg="addSp modSp add mod">
        <pc:chgData name="Hamilton Rodriguez" userId="f71b9de3-2009-44e3-9598-cd76df76ca85" providerId="ADAL" clId="{5049A158-7AE1-42E5-BE5F-2F249479F89C}" dt="2025-10-01T14:21:05.525" v="417" actId="1076"/>
        <pc:sldMkLst>
          <pc:docMk/>
          <pc:sldMk cId="1915884282" sldId="2145705874"/>
        </pc:sldMkLst>
        <pc:spChg chg="mod">
          <ac:chgData name="Hamilton Rodriguez" userId="f71b9de3-2009-44e3-9598-cd76df76ca85" providerId="ADAL" clId="{5049A158-7AE1-42E5-BE5F-2F249479F89C}" dt="2025-10-01T14:20:07.970" v="411" actId="20577"/>
          <ac:spMkLst>
            <pc:docMk/>
            <pc:sldMk cId="1915884282" sldId="2145705874"/>
            <ac:spMk id="6" creationId="{A59299E3-B56B-DE36-076B-FBE286BBAFB9}"/>
          </ac:spMkLst>
        </pc:spChg>
        <pc:picChg chg="add mod">
          <ac:chgData name="Hamilton Rodriguez" userId="f71b9de3-2009-44e3-9598-cd76df76ca85" providerId="ADAL" clId="{5049A158-7AE1-42E5-BE5F-2F249479F89C}" dt="2025-10-01T14:21:05.525" v="417" actId="1076"/>
          <ac:picMkLst>
            <pc:docMk/>
            <pc:sldMk cId="1915884282" sldId="2145705874"/>
            <ac:picMk id="2" creationId="{7A2E229E-1F58-CA19-5EB0-D47128A79DEF}"/>
          </ac:picMkLst>
        </pc:picChg>
      </pc:sldChg>
      <pc:sldChg chg="addSp modSp add mod">
        <pc:chgData name="Hamilton Rodriguez" userId="f71b9de3-2009-44e3-9598-cd76df76ca85" providerId="ADAL" clId="{5049A158-7AE1-42E5-BE5F-2F249479F89C}" dt="2025-10-01T14:41:26.231" v="515" actId="1076"/>
        <pc:sldMkLst>
          <pc:docMk/>
          <pc:sldMk cId="674513922" sldId="2145705875"/>
        </pc:sldMkLst>
        <pc:spChg chg="mod">
          <ac:chgData name="Hamilton Rodriguez" userId="f71b9de3-2009-44e3-9598-cd76df76ca85" providerId="ADAL" clId="{5049A158-7AE1-42E5-BE5F-2F249479F89C}" dt="2025-10-01T14:41:13.928" v="512" actId="20577"/>
          <ac:spMkLst>
            <pc:docMk/>
            <pc:sldMk cId="674513922" sldId="2145705875"/>
            <ac:spMk id="6" creationId="{AD320172-CB6A-F234-13DD-63EA540FB7A8}"/>
          </ac:spMkLst>
        </pc:spChg>
        <pc:picChg chg="add mod">
          <ac:chgData name="Hamilton Rodriguez" userId="f71b9de3-2009-44e3-9598-cd76df76ca85" providerId="ADAL" clId="{5049A158-7AE1-42E5-BE5F-2F249479F89C}" dt="2025-10-01T14:41:26.231" v="515" actId="1076"/>
          <ac:picMkLst>
            <pc:docMk/>
            <pc:sldMk cId="674513922" sldId="2145705875"/>
            <ac:picMk id="2" creationId="{73653FA4-9B5D-3C63-CA3A-CBB3A0348972}"/>
          </ac:picMkLst>
        </pc:picChg>
      </pc:sldChg>
      <pc:sldChg chg="addSp delSp modSp add mod">
        <pc:chgData name="Hamilton Rodriguez" userId="f71b9de3-2009-44e3-9598-cd76df76ca85" providerId="ADAL" clId="{5049A158-7AE1-42E5-BE5F-2F249479F89C}" dt="2025-10-01T14:35:47.887" v="458" actId="1076"/>
        <pc:sldMkLst>
          <pc:docMk/>
          <pc:sldMk cId="2664628146" sldId="2145705876"/>
        </pc:sldMkLst>
        <pc:picChg chg="add del mod">
          <ac:chgData name="Hamilton Rodriguez" userId="f71b9de3-2009-44e3-9598-cd76df76ca85" providerId="ADAL" clId="{5049A158-7AE1-42E5-BE5F-2F249479F89C}" dt="2025-10-01T14:35:28.843" v="452" actId="478"/>
          <ac:picMkLst>
            <pc:docMk/>
            <pc:sldMk cId="2664628146" sldId="2145705876"/>
            <ac:picMk id="2" creationId="{B4DE3D9A-AB09-090A-E45F-BF2944E66286}"/>
          </ac:picMkLst>
        </pc:picChg>
        <pc:picChg chg="add mod">
          <ac:chgData name="Hamilton Rodriguez" userId="f71b9de3-2009-44e3-9598-cd76df76ca85" providerId="ADAL" clId="{5049A158-7AE1-42E5-BE5F-2F249479F89C}" dt="2025-10-01T14:35:47.887" v="458" actId="1076"/>
          <ac:picMkLst>
            <pc:docMk/>
            <pc:sldMk cId="2664628146" sldId="2145705876"/>
            <ac:picMk id="7" creationId="{C4E59D06-7FE3-D85B-8A76-D0D81FBD9F04}"/>
          </ac:picMkLst>
        </pc:picChg>
      </pc:sldChg>
      <pc:sldChg chg="addSp modSp add mod">
        <pc:chgData name="Hamilton Rodriguez" userId="f71b9de3-2009-44e3-9598-cd76df76ca85" providerId="ADAL" clId="{5049A158-7AE1-42E5-BE5F-2F249479F89C}" dt="2025-10-01T14:28:00.396" v="446" actId="1076"/>
        <pc:sldMkLst>
          <pc:docMk/>
          <pc:sldMk cId="131515944" sldId="2145705877"/>
        </pc:sldMkLst>
        <pc:spChg chg="mod">
          <ac:chgData name="Hamilton Rodriguez" userId="f71b9de3-2009-44e3-9598-cd76df76ca85" providerId="ADAL" clId="{5049A158-7AE1-42E5-BE5F-2F249479F89C}" dt="2025-10-01T14:27:20.720" v="438" actId="20577"/>
          <ac:spMkLst>
            <pc:docMk/>
            <pc:sldMk cId="131515944" sldId="2145705877"/>
            <ac:spMk id="6" creationId="{6F774F55-A4ED-C293-1B19-A486062EF15B}"/>
          </ac:spMkLst>
        </pc:spChg>
        <pc:picChg chg="add mod">
          <ac:chgData name="Hamilton Rodriguez" userId="f71b9de3-2009-44e3-9598-cd76df76ca85" providerId="ADAL" clId="{5049A158-7AE1-42E5-BE5F-2F249479F89C}" dt="2025-10-01T14:28:00.396" v="446" actId="1076"/>
          <ac:picMkLst>
            <pc:docMk/>
            <pc:sldMk cId="131515944" sldId="2145705877"/>
            <ac:picMk id="2" creationId="{E2A2C3C1-E980-4FA2-CEA1-29779E34C19E}"/>
          </ac:picMkLst>
        </pc:picChg>
      </pc:sldChg>
      <pc:sldChg chg="addSp modSp add mod">
        <pc:chgData name="Hamilton Rodriguez" userId="f71b9de3-2009-44e3-9598-cd76df76ca85" providerId="ADAL" clId="{5049A158-7AE1-42E5-BE5F-2F249479F89C}" dt="2025-10-01T14:42:24.899" v="525" actId="1076"/>
        <pc:sldMkLst>
          <pc:docMk/>
          <pc:sldMk cId="646120208" sldId="2145705878"/>
        </pc:sldMkLst>
        <pc:spChg chg="mod">
          <ac:chgData name="Hamilton Rodriguez" userId="f71b9de3-2009-44e3-9598-cd76df76ca85" providerId="ADAL" clId="{5049A158-7AE1-42E5-BE5F-2F249479F89C}" dt="2025-10-01T14:38:34.797" v="497" actId="20577"/>
          <ac:spMkLst>
            <pc:docMk/>
            <pc:sldMk cId="646120208" sldId="2145705878"/>
            <ac:spMk id="6" creationId="{CE20BEAF-5275-1218-60B4-21520A8991AA}"/>
          </ac:spMkLst>
        </pc:spChg>
        <pc:picChg chg="add mod">
          <ac:chgData name="Hamilton Rodriguez" userId="f71b9de3-2009-44e3-9598-cd76df76ca85" providerId="ADAL" clId="{5049A158-7AE1-42E5-BE5F-2F249479F89C}" dt="2025-10-01T14:42:24.899" v="525" actId="1076"/>
          <ac:picMkLst>
            <pc:docMk/>
            <pc:sldMk cId="646120208" sldId="2145705878"/>
            <ac:picMk id="3" creationId="{560EE6AF-AB60-2CCC-5F1B-E2FA1312917A}"/>
          </ac:picMkLst>
        </pc:picChg>
      </pc:sldChg>
      <pc:sldChg chg="addSp delSp modSp add mod">
        <pc:chgData name="Hamilton Rodriguez" userId="f71b9de3-2009-44e3-9598-cd76df76ca85" providerId="ADAL" clId="{5049A158-7AE1-42E5-BE5F-2F249479F89C}" dt="2025-10-01T14:36:14.706" v="471" actId="14100"/>
        <pc:sldMkLst>
          <pc:docMk/>
          <pc:sldMk cId="1171858839" sldId="2145705879"/>
        </pc:sldMkLst>
        <pc:picChg chg="del">
          <ac:chgData name="Hamilton Rodriguez" userId="f71b9de3-2009-44e3-9598-cd76df76ca85" providerId="ADAL" clId="{5049A158-7AE1-42E5-BE5F-2F249479F89C}" dt="2025-10-01T14:28:15.901" v="448" actId="478"/>
          <ac:picMkLst>
            <pc:docMk/>
            <pc:sldMk cId="1171858839" sldId="2145705879"/>
            <ac:picMk id="2" creationId="{A4CF32CE-3C34-76BA-C05C-E0745D983BCD}"/>
          </ac:picMkLst>
        </pc:picChg>
        <pc:picChg chg="add mod">
          <ac:chgData name="Hamilton Rodriguez" userId="f71b9de3-2009-44e3-9598-cd76df76ca85" providerId="ADAL" clId="{5049A158-7AE1-42E5-BE5F-2F249479F89C}" dt="2025-10-01T14:36:14.706" v="471" actId="14100"/>
          <ac:picMkLst>
            <pc:docMk/>
            <pc:sldMk cId="1171858839" sldId="2145705879"/>
            <ac:picMk id="3" creationId="{D54BC5FA-4ACF-E15E-8809-2DF2652BF3C8}"/>
          </ac:picMkLst>
        </pc:picChg>
      </pc:sldChg>
      <pc:sldChg chg="addSp modSp add mod">
        <pc:chgData name="Hamilton Rodriguez" userId="f71b9de3-2009-44e3-9598-cd76df76ca85" providerId="ADAL" clId="{5049A158-7AE1-42E5-BE5F-2F249479F89C}" dt="2025-10-01T14:44:09.343" v="540" actId="1037"/>
        <pc:sldMkLst>
          <pc:docMk/>
          <pc:sldMk cId="3498508999" sldId="2145705880"/>
        </pc:sldMkLst>
        <pc:picChg chg="add mod">
          <ac:chgData name="Hamilton Rodriguez" userId="f71b9de3-2009-44e3-9598-cd76df76ca85" providerId="ADAL" clId="{5049A158-7AE1-42E5-BE5F-2F249479F89C}" dt="2025-10-01T14:44:09.343" v="540" actId="1037"/>
          <ac:picMkLst>
            <pc:docMk/>
            <pc:sldMk cId="3498508999" sldId="2145705880"/>
            <ac:picMk id="3" creationId="{25B432B3-F89A-F19C-93F2-AA6EB808BA4F}"/>
          </ac:picMkLst>
        </pc:picChg>
      </pc:sldChg>
      <pc:sldChg chg="addSp modSp add mod">
        <pc:chgData name="Hamilton Rodriguez" userId="f71b9de3-2009-44e3-9598-cd76df76ca85" providerId="ADAL" clId="{5049A158-7AE1-42E5-BE5F-2F249479F89C}" dt="2025-10-01T14:45:06.910" v="544" actId="1076"/>
        <pc:sldMkLst>
          <pc:docMk/>
          <pc:sldMk cId="3510968189" sldId="2145705881"/>
        </pc:sldMkLst>
        <pc:picChg chg="add mod">
          <ac:chgData name="Hamilton Rodriguez" userId="f71b9de3-2009-44e3-9598-cd76df76ca85" providerId="ADAL" clId="{5049A158-7AE1-42E5-BE5F-2F249479F89C}" dt="2025-10-01T14:45:06.910" v="544" actId="1076"/>
          <ac:picMkLst>
            <pc:docMk/>
            <pc:sldMk cId="3510968189" sldId="2145705881"/>
            <ac:picMk id="3" creationId="{306E250E-FD29-8BE7-DD01-362719B0BB3C}"/>
          </ac:picMkLst>
        </pc:picChg>
      </pc:sldChg>
      <pc:sldChg chg="addSp modSp add mod">
        <pc:chgData name="Hamilton Rodriguez" userId="f71b9de3-2009-44e3-9598-cd76df76ca85" providerId="ADAL" clId="{5049A158-7AE1-42E5-BE5F-2F249479F89C}" dt="2025-10-01T14:46:25.773" v="553" actId="1076"/>
        <pc:sldMkLst>
          <pc:docMk/>
          <pc:sldMk cId="129961816" sldId="2145705882"/>
        </pc:sldMkLst>
        <pc:picChg chg="add mod">
          <ac:chgData name="Hamilton Rodriguez" userId="f71b9de3-2009-44e3-9598-cd76df76ca85" providerId="ADAL" clId="{5049A158-7AE1-42E5-BE5F-2F249479F89C}" dt="2025-10-01T14:46:25.773" v="553" actId="1076"/>
          <ac:picMkLst>
            <pc:docMk/>
            <pc:sldMk cId="129961816" sldId="2145705882"/>
            <ac:picMk id="3" creationId="{4BB9865F-F406-2D83-6A07-4F853F3FF099}"/>
          </ac:picMkLst>
        </pc:picChg>
      </pc:sldChg>
      <pc:sldChg chg="addSp modSp add mod">
        <pc:chgData name="Hamilton Rodriguez" userId="f71b9de3-2009-44e3-9598-cd76df76ca85" providerId="ADAL" clId="{5049A158-7AE1-42E5-BE5F-2F249479F89C}" dt="2025-10-01T14:49:00.121" v="558" actId="1076"/>
        <pc:sldMkLst>
          <pc:docMk/>
          <pc:sldMk cId="2099713685" sldId="2145705883"/>
        </pc:sldMkLst>
        <pc:picChg chg="add mod">
          <ac:chgData name="Hamilton Rodriguez" userId="f71b9de3-2009-44e3-9598-cd76df76ca85" providerId="ADAL" clId="{5049A158-7AE1-42E5-BE5F-2F249479F89C}" dt="2025-10-01T14:49:00.121" v="558" actId="1076"/>
          <ac:picMkLst>
            <pc:docMk/>
            <pc:sldMk cId="2099713685" sldId="2145705883"/>
            <ac:picMk id="3" creationId="{657699EF-67D6-2DE5-BAE6-DFE4FBADFC99}"/>
          </ac:picMkLst>
        </pc:picChg>
      </pc:sldChg>
      <pc:sldChg chg="add del">
        <pc:chgData name="Hamilton Rodriguez" userId="f71b9de3-2009-44e3-9598-cd76df76ca85" providerId="ADAL" clId="{5049A158-7AE1-42E5-BE5F-2F249479F89C}" dt="2025-10-01T14:49:21.973" v="559" actId="47"/>
        <pc:sldMkLst>
          <pc:docMk/>
          <pc:sldMk cId="1708149482" sldId="2145705884"/>
        </pc:sldMkLst>
      </pc:sldChg>
      <pc:sldChg chg="add del">
        <pc:chgData name="Hamilton Rodriguez" userId="f71b9de3-2009-44e3-9598-cd76df76ca85" providerId="ADAL" clId="{5049A158-7AE1-42E5-BE5F-2F249479F89C}" dt="2025-10-01T14:49:39.972" v="561" actId="47"/>
        <pc:sldMkLst>
          <pc:docMk/>
          <pc:sldMk cId="1511331099" sldId="2145705885"/>
        </pc:sldMkLst>
      </pc:sldChg>
      <pc:sldChg chg="add">
        <pc:chgData name="Hamilton Rodriguez" userId="f71b9de3-2009-44e3-9598-cd76df76ca85" providerId="ADAL" clId="{5049A158-7AE1-42E5-BE5F-2F249479F89C}" dt="2025-10-01T14:49:37.048" v="560"/>
        <pc:sldMkLst>
          <pc:docMk/>
          <pc:sldMk cId="1646860996" sldId="2145705886"/>
        </pc:sldMkLst>
      </pc:sldChg>
      <pc:sldChg chg="add">
        <pc:chgData name="Hamilton Rodriguez" userId="f71b9de3-2009-44e3-9598-cd76df76ca85" providerId="ADAL" clId="{5049A158-7AE1-42E5-BE5F-2F249479F89C}" dt="2025-10-01T14:49:37.048" v="560"/>
        <pc:sldMkLst>
          <pc:docMk/>
          <pc:sldMk cId="360580690" sldId="2145705887"/>
        </pc:sldMkLst>
      </pc:sldChg>
      <pc:sldChg chg="addSp delSp modSp add mod">
        <pc:chgData name="Hamilton Rodriguez" userId="f71b9de3-2009-44e3-9598-cd76df76ca85" providerId="ADAL" clId="{5049A158-7AE1-42E5-BE5F-2F249479F89C}" dt="2025-10-01T15:00:59.183" v="575" actId="1076"/>
        <pc:sldMkLst>
          <pc:docMk/>
          <pc:sldMk cId="2320739176" sldId="2145705888"/>
        </pc:sldMkLst>
        <pc:spChg chg="mod">
          <ac:chgData name="Hamilton Rodriguez" userId="f71b9de3-2009-44e3-9598-cd76df76ca85" providerId="ADAL" clId="{5049A158-7AE1-42E5-BE5F-2F249479F89C}" dt="2025-10-01T14:50:02.496" v="569" actId="20577"/>
          <ac:spMkLst>
            <pc:docMk/>
            <pc:sldMk cId="2320739176" sldId="2145705888"/>
            <ac:spMk id="6" creationId="{F6334D3E-83DC-5D88-D943-C6ACF91A7837}"/>
          </ac:spMkLst>
        </pc:spChg>
        <pc:picChg chg="del">
          <ac:chgData name="Hamilton Rodriguez" userId="f71b9de3-2009-44e3-9598-cd76df76ca85" providerId="ADAL" clId="{5049A158-7AE1-42E5-BE5F-2F249479F89C}" dt="2025-10-01T14:50:04.770" v="570" actId="478"/>
          <ac:picMkLst>
            <pc:docMk/>
            <pc:sldMk cId="2320739176" sldId="2145705888"/>
            <ac:picMk id="2" creationId="{99FCCF18-F227-D208-AE2D-554EC2EBD23F}"/>
          </ac:picMkLst>
        </pc:picChg>
        <pc:picChg chg="add mod">
          <ac:chgData name="Hamilton Rodriguez" userId="f71b9de3-2009-44e3-9598-cd76df76ca85" providerId="ADAL" clId="{5049A158-7AE1-42E5-BE5F-2F249479F89C}" dt="2025-10-01T15:00:59.183" v="575" actId="1076"/>
          <ac:picMkLst>
            <pc:docMk/>
            <pc:sldMk cId="2320739176" sldId="2145705888"/>
            <ac:picMk id="7" creationId="{DACE87A1-2F93-0CC9-E4F2-4EF55A1B002B}"/>
          </ac:picMkLst>
        </pc:picChg>
      </pc:sldChg>
    </pc:docChg>
  </pc:docChgLst>
  <pc:docChgLst>
    <pc:chgData name="Hamilton Stewart Rodríguez Parra" userId="9d47022e6f4561a5" providerId="Windows Live" clId="Web-{CCC1721E-858A-60EF-50D6-03D0E87803AF}"/>
    <pc:docChg chg="addSld delSld modSld sldOrd">
      <pc:chgData name="Hamilton Stewart Rodríguez Parra" userId="9d47022e6f4561a5" providerId="Windows Live" clId="Web-{CCC1721E-858A-60EF-50D6-03D0E87803AF}" dt="2025-07-22T02:37:44.347" v="766" actId="1076"/>
      <pc:docMkLst>
        <pc:docMk/>
      </pc:docMkLst>
      <pc:sldChg chg="delSp add del">
        <pc:chgData name="Hamilton Stewart Rodríguez Parra" userId="9d47022e6f4561a5" providerId="Windows Live" clId="Web-{CCC1721E-858A-60EF-50D6-03D0E87803AF}" dt="2025-07-21T20:12:18.807" v="11"/>
        <pc:sldMkLst>
          <pc:docMk/>
          <pc:sldMk cId="2406273178" sldId="256"/>
        </pc:sldMkLst>
      </pc:sldChg>
      <pc:sldChg chg="modSp">
        <pc:chgData name="Hamilton Stewart Rodríguez Parra" userId="9d47022e6f4561a5" providerId="Windows Live" clId="Web-{CCC1721E-858A-60EF-50D6-03D0E87803AF}" dt="2025-07-22T02:22:09.679" v="638" actId="20577"/>
        <pc:sldMkLst>
          <pc:docMk/>
          <pc:sldMk cId="857024924" sldId="275"/>
        </pc:sldMkLst>
      </pc:sldChg>
      <pc:sldChg chg="del">
        <pc:chgData name="Hamilton Stewart Rodríguez Parra" userId="9d47022e6f4561a5" providerId="Windows Live" clId="Web-{CCC1721E-858A-60EF-50D6-03D0E87803AF}" dt="2025-07-22T02:23:12.585" v="660"/>
        <pc:sldMkLst>
          <pc:docMk/>
          <pc:sldMk cId="3364032398" sldId="2145705785"/>
        </pc:sldMkLst>
      </pc:sldChg>
      <pc:sldChg chg="del">
        <pc:chgData name="Hamilton Stewart Rodríguez Parra" userId="9d47022e6f4561a5" providerId="Windows Live" clId="Web-{CCC1721E-858A-60EF-50D6-03D0E87803AF}" dt="2025-07-22T02:22:49.039" v="640"/>
        <pc:sldMkLst>
          <pc:docMk/>
          <pc:sldMk cId="3104234136" sldId="2145705801"/>
        </pc:sldMkLst>
      </pc:sldChg>
      <pc:sldChg chg="del">
        <pc:chgData name="Hamilton Stewart Rodríguez Parra" userId="9d47022e6f4561a5" providerId="Windows Live" clId="Web-{CCC1721E-858A-60EF-50D6-03D0E87803AF}" dt="2025-07-22T02:22:52.273" v="642"/>
        <pc:sldMkLst>
          <pc:docMk/>
          <pc:sldMk cId="397526778" sldId="2145705802"/>
        </pc:sldMkLst>
      </pc:sldChg>
      <pc:sldChg chg="del">
        <pc:chgData name="Hamilton Stewart Rodríguez Parra" userId="9d47022e6f4561a5" providerId="Windows Live" clId="Web-{CCC1721E-858A-60EF-50D6-03D0E87803AF}" dt="2025-07-22T02:22:55.617" v="644"/>
        <pc:sldMkLst>
          <pc:docMk/>
          <pc:sldMk cId="2640578046" sldId="2145705803"/>
        </pc:sldMkLst>
      </pc:sldChg>
      <pc:sldChg chg="del">
        <pc:chgData name="Hamilton Stewart Rodríguez Parra" userId="9d47022e6f4561a5" providerId="Windows Live" clId="Web-{CCC1721E-858A-60EF-50D6-03D0E87803AF}" dt="2025-07-22T02:22:57.507" v="646"/>
        <pc:sldMkLst>
          <pc:docMk/>
          <pc:sldMk cId="2815638675" sldId="2145705804"/>
        </pc:sldMkLst>
      </pc:sldChg>
      <pc:sldChg chg="del">
        <pc:chgData name="Hamilton Stewart Rodríguez Parra" userId="9d47022e6f4561a5" providerId="Windows Live" clId="Web-{CCC1721E-858A-60EF-50D6-03D0E87803AF}" dt="2025-07-22T02:22:59.742" v="648"/>
        <pc:sldMkLst>
          <pc:docMk/>
          <pc:sldMk cId="2863693662" sldId="2145705805"/>
        </pc:sldMkLst>
      </pc:sldChg>
      <pc:sldChg chg="del">
        <pc:chgData name="Hamilton Stewart Rodríguez Parra" userId="9d47022e6f4561a5" providerId="Windows Live" clId="Web-{CCC1721E-858A-60EF-50D6-03D0E87803AF}" dt="2025-07-22T02:23:01.226" v="650"/>
        <pc:sldMkLst>
          <pc:docMk/>
          <pc:sldMk cId="2071833582" sldId="2145705806"/>
        </pc:sldMkLst>
      </pc:sldChg>
      <pc:sldChg chg="del">
        <pc:chgData name="Hamilton Stewart Rodríguez Parra" userId="9d47022e6f4561a5" providerId="Windows Live" clId="Web-{CCC1721E-858A-60EF-50D6-03D0E87803AF}" dt="2025-07-22T02:23:03.148" v="652"/>
        <pc:sldMkLst>
          <pc:docMk/>
          <pc:sldMk cId="3658824876" sldId="2145705807"/>
        </pc:sldMkLst>
      </pc:sldChg>
      <pc:sldChg chg="del">
        <pc:chgData name="Hamilton Stewart Rodríguez Parra" userId="9d47022e6f4561a5" providerId="Windows Live" clId="Web-{CCC1721E-858A-60EF-50D6-03D0E87803AF}" dt="2025-07-22T02:23:04.054" v="654"/>
        <pc:sldMkLst>
          <pc:docMk/>
          <pc:sldMk cId="904865137" sldId="2145705808"/>
        </pc:sldMkLst>
      </pc:sldChg>
      <pc:sldChg chg="del">
        <pc:chgData name="Hamilton Stewart Rodríguez Parra" userId="9d47022e6f4561a5" providerId="Windows Live" clId="Web-{CCC1721E-858A-60EF-50D6-03D0E87803AF}" dt="2025-07-22T02:23:05.507" v="656"/>
        <pc:sldMkLst>
          <pc:docMk/>
          <pc:sldMk cId="2372554428" sldId="2145705809"/>
        </pc:sldMkLst>
      </pc:sldChg>
      <pc:sldChg chg="del">
        <pc:chgData name="Hamilton Stewart Rodríguez Parra" userId="9d47022e6f4561a5" providerId="Windows Live" clId="Web-{CCC1721E-858A-60EF-50D6-03D0E87803AF}" dt="2025-07-22T02:22:47.367" v="639"/>
        <pc:sldMkLst>
          <pc:docMk/>
          <pc:sldMk cId="3237364529" sldId="2145705814"/>
        </pc:sldMkLst>
      </pc:sldChg>
      <pc:sldChg chg="del">
        <pc:chgData name="Hamilton Stewart Rodríguez Parra" userId="9d47022e6f4561a5" providerId="Windows Live" clId="Web-{CCC1721E-858A-60EF-50D6-03D0E87803AF}" dt="2025-07-22T02:22:52.257" v="641"/>
        <pc:sldMkLst>
          <pc:docMk/>
          <pc:sldMk cId="3494367151" sldId="2145705815"/>
        </pc:sldMkLst>
      </pc:sldChg>
      <pc:sldChg chg="del">
        <pc:chgData name="Hamilton Stewart Rodríguez Parra" userId="9d47022e6f4561a5" providerId="Windows Live" clId="Web-{CCC1721E-858A-60EF-50D6-03D0E87803AF}" dt="2025-07-22T02:22:55.132" v="643"/>
        <pc:sldMkLst>
          <pc:docMk/>
          <pc:sldMk cId="2010565102" sldId="2145705816"/>
        </pc:sldMkLst>
      </pc:sldChg>
      <pc:sldChg chg="del">
        <pc:chgData name="Hamilton Stewart Rodríguez Parra" userId="9d47022e6f4561a5" providerId="Windows Live" clId="Web-{CCC1721E-858A-60EF-50D6-03D0E87803AF}" dt="2025-07-22T02:22:56.539" v="645"/>
        <pc:sldMkLst>
          <pc:docMk/>
          <pc:sldMk cId="75812208" sldId="2145705817"/>
        </pc:sldMkLst>
      </pc:sldChg>
      <pc:sldChg chg="del">
        <pc:chgData name="Hamilton Stewart Rodríguez Parra" userId="9d47022e6f4561a5" providerId="Windows Live" clId="Web-{CCC1721E-858A-60EF-50D6-03D0E87803AF}" dt="2025-07-22T02:22:58.101" v="647"/>
        <pc:sldMkLst>
          <pc:docMk/>
          <pc:sldMk cId="3766438650" sldId="2145705818"/>
        </pc:sldMkLst>
      </pc:sldChg>
      <pc:sldChg chg="del">
        <pc:chgData name="Hamilton Stewart Rodríguez Parra" userId="9d47022e6f4561a5" providerId="Windows Live" clId="Web-{CCC1721E-858A-60EF-50D6-03D0E87803AF}" dt="2025-07-22T02:23:00.617" v="649"/>
        <pc:sldMkLst>
          <pc:docMk/>
          <pc:sldMk cId="2770535136" sldId="2145705819"/>
        </pc:sldMkLst>
      </pc:sldChg>
      <pc:sldChg chg="del">
        <pc:chgData name="Hamilton Stewart Rodríguez Parra" userId="9d47022e6f4561a5" providerId="Windows Live" clId="Web-{CCC1721E-858A-60EF-50D6-03D0E87803AF}" dt="2025-07-22T02:23:02.210" v="651"/>
        <pc:sldMkLst>
          <pc:docMk/>
          <pc:sldMk cId="458804073" sldId="2145705820"/>
        </pc:sldMkLst>
      </pc:sldChg>
      <pc:sldChg chg="del">
        <pc:chgData name="Hamilton Stewart Rodríguez Parra" userId="9d47022e6f4561a5" providerId="Windows Live" clId="Web-{CCC1721E-858A-60EF-50D6-03D0E87803AF}" dt="2025-07-22T02:23:03.164" v="653"/>
        <pc:sldMkLst>
          <pc:docMk/>
          <pc:sldMk cId="1780953469" sldId="2145705821"/>
        </pc:sldMkLst>
      </pc:sldChg>
      <pc:sldChg chg="del">
        <pc:chgData name="Hamilton Stewart Rodríguez Parra" userId="9d47022e6f4561a5" providerId="Windows Live" clId="Web-{CCC1721E-858A-60EF-50D6-03D0E87803AF}" dt="2025-07-22T02:23:04.742" v="655"/>
        <pc:sldMkLst>
          <pc:docMk/>
          <pc:sldMk cId="193963335" sldId="2145705822"/>
        </pc:sldMkLst>
      </pc:sldChg>
      <pc:sldChg chg="del">
        <pc:chgData name="Hamilton Stewart Rodríguez Parra" userId="9d47022e6f4561a5" providerId="Windows Live" clId="Web-{CCC1721E-858A-60EF-50D6-03D0E87803AF}" dt="2025-07-22T02:23:05.820" v="657"/>
        <pc:sldMkLst>
          <pc:docMk/>
          <pc:sldMk cId="1958191667" sldId="2145705825"/>
        </pc:sldMkLst>
      </pc:sldChg>
      <pc:sldChg chg="del">
        <pc:chgData name="Hamilton Stewart Rodríguez Parra" userId="9d47022e6f4561a5" providerId="Windows Live" clId="Web-{CCC1721E-858A-60EF-50D6-03D0E87803AF}" dt="2025-07-22T02:23:06.523" v="658"/>
        <pc:sldMkLst>
          <pc:docMk/>
          <pc:sldMk cId="2440363482" sldId="2145705826"/>
        </pc:sldMkLst>
      </pc:sldChg>
      <pc:sldChg chg="del">
        <pc:chgData name="Hamilton Stewart Rodríguez Parra" userId="9d47022e6f4561a5" providerId="Windows Live" clId="Web-{CCC1721E-858A-60EF-50D6-03D0E87803AF}" dt="2025-07-22T02:23:07.429" v="659"/>
        <pc:sldMkLst>
          <pc:docMk/>
          <pc:sldMk cId="1543593803" sldId="2145705827"/>
        </pc:sldMkLst>
      </pc:sldChg>
      <pc:sldChg chg="addSp modSp del">
        <pc:chgData name="Hamilton Stewart Rodríguez Parra" userId="9d47022e6f4561a5" providerId="Windows Live" clId="Web-{CCC1721E-858A-60EF-50D6-03D0E87803AF}" dt="2025-07-21T21:32:06.227" v="251"/>
        <pc:sldMkLst>
          <pc:docMk/>
          <pc:sldMk cId="1645612131" sldId="2145705828"/>
        </pc:sldMkLst>
      </pc:sldChg>
      <pc:sldChg chg="del">
        <pc:chgData name="Hamilton Stewart Rodríguez Parra" userId="9d47022e6f4561a5" providerId="Windows Live" clId="Web-{CCC1721E-858A-60EF-50D6-03D0E87803AF}" dt="2025-07-22T02:23:57.304" v="661"/>
        <pc:sldMkLst>
          <pc:docMk/>
          <pc:sldMk cId="2158410841" sldId="2145705829"/>
        </pc:sldMkLst>
      </pc:sldChg>
      <pc:sldChg chg="del ord">
        <pc:chgData name="Hamilton Stewart Rodríguez Parra" userId="9d47022e6f4561a5" providerId="Windows Live" clId="Web-{CCC1721E-858A-60EF-50D6-03D0E87803AF}" dt="2025-07-22T02:23:58.351" v="662"/>
        <pc:sldMkLst>
          <pc:docMk/>
          <pc:sldMk cId="2643906840" sldId="2145705830"/>
        </pc:sldMkLst>
      </pc:sldChg>
      <pc:sldChg chg="addSp modSp del">
        <pc:chgData name="Hamilton Stewart Rodríguez Parra" userId="9d47022e6f4561a5" providerId="Windows Live" clId="Web-{CCC1721E-858A-60EF-50D6-03D0E87803AF}" dt="2025-07-21T21:30:08.054" v="201"/>
        <pc:sldMkLst>
          <pc:docMk/>
          <pc:sldMk cId="2479444405" sldId="2145705831"/>
        </pc:sldMkLst>
      </pc:sldChg>
      <pc:sldChg chg="addSp delSp modSp">
        <pc:chgData name="Hamilton Stewart Rodríguez Parra" userId="9d47022e6f4561a5" providerId="Windows Live" clId="Web-{CCC1721E-858A-60EF-50D6-03D0E87803AF}" dt="2025-07-21T21:32:10.852" v="252" actId="20577"/>
        <pc:sldMkLst>
          <pc:docMk/>
          <pc:sldMk cId="138811212" sldId="2145705832"/>
        </pc:sldMkLst>
      </pc:sldChg>
      <pc:sldChg chg="add del replId">
        <pc:chgData name="Hamilton Stewart Rodríguez Parra" userId="9d47022e6f4561a5" providerId="Windows Live" clId="Web-{CCC1721E-858A-60EF-50D6-03D0E87803AF}" dt="2025-07-21T21:30:49.461" v="214"/>
        <pc:sldMkLst>
          <pc:docMk/>
          <pc:sldMk cId="3222911469" sldId="2145705833"/>
        </pc:sldMkLst>
      </pc:sldChg>
      <pc:sldChg chg="modSp add del replId">
        <pc:chgData name="Hamilton Stewart Rodríguez Parra" userId="9d47022e6f4561a5" providerId="Windows Live" clId="Web-{CCC1721E-858A-60EF-50D6-03D0E87803AF}" dt="2025-07-21T22:18:44.700" v="360"/>
        <pc:sldMkLst>
          <pc:docMk/>
          <pc:sldMk cId="3133477784" sldId="2145705834"/>
        </pc:sldMkLst>
      </pc:sldChg>
      <pc:sldChg chg="addSp delSp modSp add replId">
        <pc:chgData name="Hamilton Stewart Rodríguez Parra" userId="9d47022e6f4561a5" providerId="Windows Live" clId="Web-{CCC1721E-858A-60EF-50D6-03D0E87803AF}" dt="2025-07-22T01:28:22.568" v="560" actId="20577"/>
        <pc:sldMkLst>
          <pc:docMk/>
          <pc:sldMk cId="1174161901" sldId="2145705835"/>
        </pc:sldMkLst>
      </pc:sldChg>
      <pc:sldChg chg="modSp add replId">
        <pc:chgData name="Hamilton Stewart Rodríguez Parra" userId="9d47022e6f4561a5" providerId="Windows Live" clId="Web-{CCC1721E-858A-60EF-50D6-03D0E87803AF}" dt="2025-07-22T01:28:27.100" v="561" actId="20577"/>
        <pc:sldMkLst>
          <pc:docMk/>
          <pc:sldMk cId="1576575548" sldId="2145705836"/>
        </pc:sldMkLst>
      </pc:sldChg>
      <pc:sldChg chg="addSp delSp modSp add ord replId">
        <pc:chgData name="Hamilton Stewart Rodríguez Parra" userId="9d47022e6f4561a5" providerId="Windows Live" clId="Web-{CCC1721E-858A-60EF-50D6-03D0E87803AF}" dt="2025-07-22T01:28:17.318" v="559" actId="20577"/>
        <pc:sldMkLst>
          <pc:docMk/>
          <pc:sldMk cId="805799168" sldId="2145705837"/>
        </pc:sldMkLst>
      </pc:sldChg>
      <pc:sldChg chg="addSp modSp add ord replId">
        <pc:chgData name="Hamilton Stewart Rodríguez Parra" userId="9d47022e6f4561a5" providerId="Windows Live" clId="Web-{CCC1721E-858A-60EF-50D6-03D0E87803AF}" dt="2025-07-22T01:27:50.803" v="551" actId="20577"/>
        <pc:sldMkLst>
          <pc:docMk/>
          <pc:sldMk cId="253399744" sldId="2145705838"/>
        </pc:sldMkLst>
      </pc:sldChg>
      <pc:sldChg chg="addSp modSp add replId">
        <pc:chgData name="Hamilton Stewart Rodríguez Parra" userId="9d47022e6f4561a5" providerId="Windows Live" clId="Web-{CCC1721E-858A-60EF-50D6-03D0E87803AF}" dt="2025-07-22T01:28:00.787" v="555" actId="20577"/>
        <pc:sldMkLst>
          <pc:docMk/>
          <pc:sldMk cId="1061534771" sldId="2145705839"/>
        </pc:sldMkLst>
      </pc:sldChg>
      <pc:sldChg chg="addSp modSp add replId">
        <pc:chgData name="Hamilton Stewart Rodríguez Parra" userId="9d47022e6f4561a5" providerId="Windows Live" clId="Web-{CCC1721E-858A-60EF-50D6-03D0E87803AF}" dt="2025-07-22T01:27:55.693" v="553" actId="20577"/>
        <pc:sldMkLst>
          <pc:docMk/>
          <pc:sldMk cId="1932159061" sldId="2145705840"/>
        </pc:sldMkLst>
      </pc:sldChg>
      <pc:sldChg chg="addSp modSp add replId">
        <pc:chgData name="Hamilton Stewart Rodríguez Parra" userId="9d47022e6f4561a5" providerId="Windows Live" clId="Web-{CCC1721E-858A-60EF-50D6-03D0E87803AF}" dt="2025-07-22T01:28:12.631" v="558" actId="20577"/>
        <pc:sldMkLst>
          <pc:docMk/>
          <pc:sldMk cId="4258674718" sldId="2145705841"/>
        </pc:sldMkLst>
      </pc:sldChg>
      <pc:sldChg chg="addSp modSp add replId">
        <pc:chgData name="Hamilton Stewart Rodríguez Parra" userId="9d47022e6f4561a5" providerId="Windows Live" clId="Web-{CCC1721E-858A-60EF-50D6-03D0E87803AF}" dt="2025-07-22T01:28:07.584" v="557" actId="20577"/>
        <pc:sldMkLst>
          <pc:docMk/>
          <pc:sldMk cId="1385118724" sldId="2145705842"/>
        </pc:sldMkLst>
      </pc:sldChg>
      <pc:sldChg chg="addSp modSp add del replId">
        <pc:chgData name="Hamilton Stewart Rodríguez Parra" userId="9d47022e6f4561a5" providerId="Windows Live" clId="Web-{CCC1721E-858A-60EF-50D6-03D0E87803AF}" dt="2025-07-21T22:16:34.387" v="358"/>
        <pc:sldMkLst>
          <pc:docMk/>
          <pc:sldMk cId="1940437997" sldId="2145705843"/>
        </pc:sldMkLst>
      </pc:sldChg>
      <pc:sldChg chg="addSp delSp modSp add replId">
        <pc:chgData name="Hamilton Stewart Rodríguez Parra" userId="9d47022e6f4561a5" providerId="Windows Live" clId="Web-{CCC1721E-858A-60EF-50D6-03D0E87803AF}" dt="2025-07-22T01:27:46.256" v="550" actId="20577"/>
        <pc:sldMkLst>
          <pc:docMk/>
          <pc:sldMk cId="2528418816" sldId="2145705843"/>
        </pc:sldMkLst>
      </pc:sldChg>
      <pc:sldChg chg="add del ord replId">
        <pc:chgData name="Hamilton Stewart Rodríguez Parra" userId="9d47022e6f4561a5" providerId="Windows Live" clId="Web-{CCC1721E-858A-60EF-50D6-03D0E87803AF}" dt="2025-07-21T22:17:06.668" v="359"/>
        <pc:sldMkLst>
          <pc:docMk/>
          <pc:sldMk cId="1666770688" sldId="2145705844"/>
        </pc:sldMkLst>
      </pc:sldChg>
      <pc:sldChg chg="addSp modSp add ord replId">
        <pc:chgData name="Hamilton Stewart Rodríguez Parra" userId="9d47022e6f4561a5" providerId="Windows Live" clId="Web-{CCC1721E-858A-60EF-50D6-03D0E87803AF}" dt="2025-07-22T01:37:02.849" v="569" actId="20577"/>
        <pc:sldMkLst>
          <pc:docMk/>
          <pc:sldMk cId="4097153010" sldId="2145705844"/>
        </pc:sldMkLst>
      </pc:sldChg>
      <pc:sldChg chg="addSp delSp modSp add replId">
        <pc:chgData name="Hamilton Stewart Rodríguez Parra" userId="9d47022e6f4561a5" providerId="Windows Live" clId="Web-{CCC1721E-858A-60EF-50D6-03D0E87803AF}" dt="2025-07-22T02:04:09.979" v="603" actId="1076"/>
        <pc:sldMkLst>
          <pc:docMk/>
          <pc:sldMk cId="820685486" sldId="2145705845"/>
        </pc:sldMkLst>
      </pc:sldChg>
      <pc:sldChg chg="addSp modSp add replId">
        <pc:chgData name="Hamilton Stewart Rodríguez Parra" userId="9d47022e6f4561a5" providerId="Windows Live" clId="Web-{CCC1721E-858A-60EF-50D6-03D0E87803AF}" dt="2025-07-22T02:32:10.192" v="746" actId="20577"/>
        <pc:sldMkLst>
          <pc:docMk/>
          <pc:sldMk cId="2567271911" sldId="2145705846"/>
        </pc:sldMkLst>
      </pc:sldChg>
      <pc:sldChg chg="add del replId">
        <pc:chgData name="Hamilton Stewart Rodríguez Parra" userId="9d47022e6f4561a5" providerId="Windows Live" clId="Web-{CCC1721E-858A-60EF-50D6-03D0E87803AF}" dt="2025-07-22T02:31:14.974" v="741"/>
        <pc:sldMkLst>
          <pc:docMk/>
          <pc:sldMk cId="3211439641" sldId="2145705847"/>
        </pc:sldMkLst>
      </pc:sldChg>
      <pc:sldChg chg="addSp modSp add replId">
        <pc:chgData name="Hamilton Stewart Rodríguez Parra" userId="9d47022e6f4561a5" providerId="Windows Live" clId="Web-{CCC1721E-858A-60EF-50D6-03D0E87803AF}" dt="2025-07-22T02:32:43.786" v="756" actId="20577"/>
        <pc:sldMkLst>
          <pc:docMk/>
          <pc:sldMk cId="2452410328" sldId="2145705848"/>
        </pc:sldMkLst>
      </pc:sldChg>
      <pc:sldChg chg="add del replId">
        <pc:chgData name="Hamilton Stewart Rodríguez Parra" userId="9d47022e6f4561a5" providerId="Windows Live" clId="Web-{CCC1721E-858A-60EF-50D6-03D0E87803AF}" dt="2025-07-22T02:31:23.364" v="742"/>
        <pc:sldMkLst>
          <pc:docMk/>
          <pc:sldMk cId="2374813570" sldId="2145705849"/>
        </pc:sldMkLst>
      </pc:sldChg>
      <pc:sldChg chg="addSp delSp modSp add replId">
        <pc:chgData name="Hamilton Stewart Rodríguez Parra" userId="9d47022e6f4561a5" providerId="Windows Live" clId="Web-{CCC1721E-858A-60EF-50D6-03D0E87803AF}" dt="2025-07-22T02:08:20.525" v="623" actId="1076"/>
        <pc:sldMkLst>
          <pc:docMk/>
          <pc:sldMk cId="1909390008" sldId="2145705850"/>
        </pc:sldMkLst>
      </pc:sldChg>
      <pc:sldChg chg="addSp delSp modSp add replId">
        <pc:chgData name="Hamilton Stewart Rodríguez Parra" userId="9d47022e6f4561a5" providerId="Windows Live" clId="Web-{CCC1721E-858A-60EF-50D6-03D0E87803AF}" dt="2025-07-22T02:16:00.556" v="634" actId="1076"/>
        <pc:sldMkLst>
          <pc:docMk/>
          <pc:sldMk cId="97457363" sldId="2145705851"/>
        </pc:sldMkLst>
      </pc:sldChg>
      <pc:sldChg chg="addSp modSp add replId">
        <pc:chgData name="Hamilton Stewart Rodríguez Parra" userId="9d47022e6f4561a5" providerId="Windows Live" clId="Web-{CCC1721E-858A-60EF-50D6-03D0E87803AF}" dt="2025-07-22T02:32:15.973" v="747" actId="20577"/>
        <pc:sldMkLst>
          <pc:docMk/>
          <pc:sldMk cId="2132042571" sldId="2145705852"/>
        </pc:sldMkLst>
      </pc:sldChg>
      <pc:sldChg chg="addSp modSp add replId">
        <pc:chgData name="Hamilton Stewart Rodríguez Parra" userId="9d47022e6f4561a5" providerId="Windows Live" clId="Web-{CCC1721E-858A-60EF-50D6-03D0E87803AF}" dt="2025-07-22T02:32:19.895" v="749" actId="20577"/>
        <pc:sldMkLst>
          <pc:docMk/>
          <pc:sldMk cId="3002438400" sldId="2145705853"/>
        </pc:sldMkLst>
      </pc:sldChg>
      <pc:sldChg chg="addSp modSp add replId">
        <pc:chgData name="Hamilton Stewart Rodríguez Parra" userId="9d47022e6f4561a5" providerId="Windows Live" clId="Web-{CCC1721E-858A-60EF-50D6-03D0E87803AF}" dt="2025-07-22T02:32:25.786" v="751" actId="20577"/>
        <pc:sldMkLst>
          <pc:docMk/>
          <pc:sldMk cId="3568815488" sldId="2145705854"/>
        </pc:sldMkLst>
      </pc:sldChg>
      <pc:sldChg chg="addSp modSp add replId">
        <pc:chgData name="Hamilton Stewart Rodríguez Parra" userId="9d47022e6f4561a5" providerId="Windows Live" clId="Web-{CCC1721E-858A-60EF-50D6-03D0E87803AF}" dt="2025-07-22T02:32:30.114" v="752" actId="20577"/>
        <pc:sldMkLst>
          <pc:docMk/>
          <pc:sldMk cId="45499549" sldId="2145705855"/>
        </pc:sldMkLst>
      </pc:sldChg>
      <pc:sldChg chg="addSp delSp modSp add replId">
        <pc:chgData name="Hamilton Stewart Rodríguez Parra" userId="9d47022e6f4561a5" providerId="Windows Live" clId="Web-{CCC1721E-858A-60EF-50D6-03D0E87803AF}" dt="2025-07-22T02:32:34.395" v="753" actId="20577"/>
        <pc:sldMkLst>
          <pc:docMk/>
          <pc:sldMk cId="1933211623" sldId="2145705856"/>
        </pc:sldMkLst>
      </pc:sldChg>
      <pc:sldChg chg="addSp delSp modSp add replId">
        <pc:chgData name="Hamilton Stewart Rodríguez Parra" userId="9d47022e6f4561a5" providerId="Windows Live" clId="Web-{CCC1721E-858A-60EF-50D6-03D0E87803AF}" dt="2025-07-22T02:32:39.536" v="754" actId="20577"/>
        <pc:sldMkLst>
          <pc:docMk/>
          <pc:sldMk cId="1057248796" sldId="2145705857"/>
        </pc:sldMkLst>
      </pc:sldChg>
      <pc:sldChg chg="addSp delSp modSp add replId">
        <pc:chgData name="Hamilton Stewart Rodríguez Parra" userId="9d47022e6f4561a5" providerId="Windows Live" clId="Web-{CCC1721E-858A-60EF-50D6-03D0E87803AF}" dt="2025-07-22T02:37:44.347" v="766" actId="1076"/>
        <pc:sldMkLst>
          <pc:docMk/>
          <pc:sldMk cId="3407856218" sldId="2145705858"/>
        </pc:sldMkLst>
      </pc:sldChg>
      <pc:sldMasterChg chg="addSldLayout">
        <pc:chgData name="Hamilton Stewart Rodríguez Parra" userId="9d47022e6f4561a5" providerId="Windows Live" clId="Web-{CCC1721E-858A-60EF-50D6-03D0E87803AF}" dt="2025-07-21T20:11:48.713" v="6"/>
        <pc:sldMasterMkLst>
          <pc:docMk/>
          <pc:sldMasterMk cId="3269917566" sldId="2147484588"/>
        </pc:sldMasterMkLst>
        <pc:sldLayoutChg chg="add">
          <pc:chgData name="Hamilton Stewart Rodríguez Parra" userId="9d47022e6f4561a5" providerId="Windows Live" clId="Web-{CCC1721E-858A-60EF-50D6-03D0E87803AF}" dt="2025-07-21T20:11:48.713" v="6"/>
          <pc:sldLayoutMkLst>
            <pc:docMk/>
            <pc:sldMasterMk cId="3269917566" sldId="2147484588"/>
            <pc:sldLayoutMk cId="1634254895" sldId="2147484634"/>
          </pc:sldLayoutMkLst>
        </pc:sldLayoutChg>
      </pc:sldMasterChg>
    </pc:docChg>
  </pc:docChgLst>
  <pc:docChgLst>
    <pc:chgData name="Freddy J. Jimenez" userId="39abb9a2-ac35-4502-a213-348b029ea48a" providerId="ADAL" clId="{F5AEC350-99C6-4C8C-B972-8BB80A4ECA50}"/>
    <pc:docChg chg="undo redo custSel addSld delSld modSld">
      <pc:chgData name="Freddy J. Jimenez" userId="39abb9a2-ac35-4502-a213-348b029ea48a" providerId="ADAL" clId="{F5AEC350-99C6-4C8C-B972-8BB80A4ECA50}" dt="2025-04-02T14:47:10.654" v="5088" actId="20577"/>
      <pc:docMkLst>
        <pc:docMk/>
      </pc:docMkLst>
      <pc:sldChg chg="del">
        <pc:chgData name="Freddy J. Jimenez" userId="39abb9a2-ac35-4502-a213-348b029ea48a" providerId="ADAL" clId="{F5AEC350-99C6-4C8C-B972-8BB80A4ECA50}" dt="2025-04-01T03:28:11.733" v="244" actId="47"/>
        <pc:sldMkLst>
          <pc:docMk/>
          <pc:sldMk cId="4199436771" sldId="257"/>
        </pc:sldMkLst>
      </pc:sldChg>
      <pc:sldChg chg="del">
        <pc:chgData name="Freddy J. Jimenez" userId="39abb9a2-ac35-4502-a213-348b029ea48a" providerId="ADAL" clId="{F5AEC350-99C6-4C8C-B972-8BB80A4ECA50}" dt="2025-04-01T03:28:11.205" v="243" actId="47"/>
        <pc:sldMkLst>
          <pc:docMk/>
          <pc:sldMk cId="4153396725" sldId="577"/>
        </pc:sldMkLst>
      </pc:sldChg>
      <pc:sldChg chg="del">
        <pc:chgData name="Freddy J. Jimenez" userId="39abb9a2-ac35-4502-a213-348b029ea48a" providerId="ADAL" clId="{F5AEC350-99C6-4C8C-B972-8BB80A4ECA50}" dt="2025-04-01T03:28:07.793" v="238" actId="47"/>
        <pc:sldMkLst>
          <pc:docMk/>
          <pc:sldMk cId="102490349" sldId="919"/>
        </pc:sldMkLst>
      </pc:sldChg>
      <pc:sldChg chg="modSp mod">
        <pc:chgData name="Freddy J. Jimenez" userId="39abb9a2-ac35-4502-a213-348b029ea48a" providerId="ADAL" clId="{F5AEC350-99C6-4C8C-B972-8BB80A4ECA50}" dt="2025-04-01T03:13:54.116" v="2" actId="14100"/>
        <pc:sldMkLst>
          <pc:docMk/>
          <pc:sldMk cId="3364032398" sldId="2145705785"/>
        </pc:sldMkLst>
      </pc:sldChg>
      <pc:sldChg chg="addSp delSp modSp mod">
        <pc:chgData name="Freddy J. Jimenez" userId="39abb9a2-ac35-4502-a213-348b029ea48a" providerId="ADAL" clId="{F5AEC350-99C6-4C8C-B972-8BB80A4ECA50}" dt="2025-04-02T14:35:56.841" v="5015" actId="108"/>
        <pc:sldMkLst>
          <pc:docMk/>
          <pc:sldMk cId="2368050897" sldId="2145705796"/>
        </pc:sldMkLst>
      </pc:sldChg>
      <pc:sldChg chg="modSp add mod">
        <pc:chgData name="Freddy J. Jimenez" userId="39abb9a2-ac35-4502-a213-348b029ea48a" providerId="ADAL" clId="{F5AEC350-99C6-4C8C-B972-8BB80A4ECA50}" dt="2025-04-02T14:36:19.822" v="5019" actId="14100"/>
        <pc:sldMkLst>
          <pc:docMk/>
          <pc:sldMk cId="670359396" sldId="2145705797"/>
        </pc:sldMkLst>
      </pc:sldChg>
      <pc:sldChg chg="del">
        <pc:chgData name="Freddy J. Jimenez" userId="39abb9a2-ac35-4502-a213-348b029ea48a" providerId="ADAL" clId="{F5AEC350-99C6-4C8C-B972-8BB80A4ECA50}" dt="2025-04-01T03:14:02.737" v="3" actId="2696"/>
        <pc:sldMkLst>
          <pc:docMk/>
          <pc:sldMk cId="4213033407" sldId="2145705797"/>
        </pc:sldMkLst>
      </pc:sldChg>
      <pc:sldChg chg="del">
        <pc:chgData name="Freddy J. Jimenez" userId="39abb9a2-ac35-4502-a213-348b029ea48a" providerId="ADAL" clId="{F5AEC350-99C6-4C8C-B972-8BB80A4ECA50}" dt="2025-04-01T03:28:09.405" v="240" actId="47"/>
        <pc:sldMkLst>
          <pc:docMk/>
          <pc:sldMk cId="543530992" sldId="2145705798"/>
        </pc:sldMkLst>
      </pc:sldChg>
      <pc:sldChg chg="modSp add mod">
        <pc:chgData name="Freddy J. Jimenez" userId="39abb9a2-ac35-4502-a213-348b029ea48a" providerId="ADAL" clId="{F5AEC350-99C6-4C8C-B972-8BB80A4ECA50}" dt="2025-04-02T14:37:51.981" v="5027" actId="108"/>
        <pc:sldMkLst>
          <pc:docMk/>
          <pc:sldMk cId="3433925809" sldId="2145705798"/>
        </pc:sldMkLst>
      </pc:sldChg>
      <pc:sldChg chg="modSp add mod">
        <pc:chgData name="Freddy J. Jimenez" userId="39abb9a2-ac35-4502-a213-348b029ea48a" providerId="ADAL" clId="{F5AEC350-99C6-4C8C-B972-8BB80A4ECA50}" dt="2025-04-02T14:38:42.995" v="5032" actId="20577"/>
        <pc:sldMkLst>
          <pc:docMk/>
          <pc:sldMk cId="260716272" sldId="2145705799"/>
        </pc:sldMkLst>
      </pc:sldChg>
      <pc:sldChg chg="modSp add mod">
        <pc:chgData name="Freddy J. Jimenez" userId="39abb9a2-ac35-4502-a213-348b029ea48a" providerId="ADAL" clId="{F5AEC350-99C6-4C8C-B972-8BB80A4ECA50}" dt="2025-04-02T14:39:42.253" v="5036" actId="1076"/>
        <pc:sldMkLst>
          <pc:docMk/>
          <pc:sldMk cId="610872732" sldId="2145705800"/>
        </pc:sldMkLst>
      </pc:sldChg>
      <pc:sldChg chg="del">
        <pc:chgData name="Freddy J. Jimenez" userId="39abb9a2-ac35-4502-a213-348b029ea48a" providerId="ADAL" clId="{F5AEC350-99C6-4C8C-B972-8BB80A4ECA50}" dt="2025-04-01T03:28:10.036" v="241" actId="47"/>
        <pc:sldMkLst>
          <pc:docMk/>
          <pc:sldMk cId="1648026145" sldId="2145705800"/>
        </pc:sldMkLst>
      </pc:sldChg>
      <pc:sldChg chg="modSp add mod">
        <pc:chgData name="Freddy J. Jimenez" userId="39abb9a2-ac35-4502-a213-348b029ea48a" providerId="ADAL" clId="{F5AEC350-99C6-4C8C-B972-8BB80A4ECA50}" dt="2025-04-02T14:40:13.108" v="5039" actId="1076"/>
        <pc:sldMkLst>
          <pc:docMk/>
          <pc:sldMk cId="3104234136" sldId="2145705801"/>
        </pc:sldMkLst>
      </pc:sldChg>
      <pc:sldChg chg="modSp add mod">
        <pc:chgData name="Freddy J. Jimenez" userId="39abb9a2-ac35-4502-a213-348b029ea48a" providerId="ADAL" clId="{F5AEC350-99C6-4C8C-B972-8BB80A4ECA50}" dt="2025-04-02T14:47:10.654" v="5088" actId="20577"/>
        <pc:sldMkLst>
          <pc:docMk/>
          <pc:sldMk cId="397526778" sldId="2145705802"/>
        </pc:sldMkLst>
      </pc:sldChg>
      <pc:sldChg chg="new del">
        <pc:chgData name="Freddy J. Jimenez" userId="39abb9a2-ac35-4502-a213-348b029ea48a" providerId="ADAL" clId="{F5AEC350-99C6-4C8C-B972-8BB80A4ECA50}" dt="2025-04-02T02:58:17.623" v="1922" actId="680"/>
        <pc:sldMkLst>
          <pc:docMk/>
          <pc:sldMk cId="622964594" sldId="2145705802"/>
        </pc:sldMkLst>
      </pc:sldChg>
      <pc:sldChg chg="modSp add mod">
        <pc:chgData name="Freddy J. Jimenez" userId="39abb9a2-ac35-4502-a213-348b029ea48a" providerId="ADAL" clId="{F5AEC350-99C6-4C8C-B972-8BB80A4ECA50}" dt="2025-04-02T14:46:05.604" v="5079" actId="20577"/>
        <pc:sldMkLst>
          <pc:docMk/>
          <pc:sldMk cId="2640578046" sldId="2145705803"/>
        </pc:sldMkLst>
      </pc:sldChg>
      <pc:sldChg chg="modSp add mod">
        <pc:chgData name="Freddy J. Jimenez" userId="39abb9a2-ac35-4502-a213-348b029ea48a" providerId="ADAL" clId="{F5AEC350-99C6-4C8C-B972-8BB80A4ECA50}" dt="2025-04-02T14:42:11.261" v="5056" actId="108"/>
        <pc:sldMkLst>
          <pc:docMk/>
          <pc:sldMk cId="2815638675" sldId="2145705804"/>
        </pc:sldMkLst>
      </pc:sldChg>
      <pc:sldChg chg="modSp add mod">
        <pc:chgData name="Freddy J. Jimenez" userId="39abb9a2-ac35-4502-a213-348b029ea48a" providerId="ADAL" clId="{F5AEC350-99C6-4C8C-B972-8BB80A4ECA50}" dt="2025-04-02T14:42:31.442" v="5058" actId="108"/>
        <pc:sldMkLst>
          <pc:docMk/>
          <pc:sldMk cId="2863693662" sldId="2145705805"/>
        </pc:sldMkLst>
      </pc:sldChg>
      <pc:sldChg chg="modSp add mod">
        <pc:chgData name="Freddy J. Jimenez" userId="39abb9a2-ac35-4502-a213-348b029ea48a" providerId="ADAL" clId="{F5AEC350-99C6-4C8C-B972-8BB80A4ECA50}" dt="2025-04-02T14:43:35.760" v="5066" actId="123"/>
        <pc:sldMkLst>
          <pc:docMk/>
          <pc:sldMk cId="2071833582" sldId="2145705806"/>
        </pc:sldMkLst>
      </pc:sldChg>
      <pc:sldChg chg="modSp add mod setBg">
        <pc:chgData name="Freddy J. Jimenez" userId="39abb9a2-ac35-4502-a213-348b029ea48a" providerId="ADAL" clId="{F5AEC350-99C6-4C8C-B972-8BB80A4ECA50}" dt="2025-04-02T14:44:34.349" v="5071" actId="1076"/>
        <pc:sldMkLst>
          <pc:docMk/>
          <pc:sldMk cId="3658824876" sldId="2145705807"/>
        </pc:sldMkLst>
      </pc:sldChg>
      <pc:sldChg chg="modSp add mod setBg">
        <pc:chgData name="Freddy J. Jimenez" userId="39abb9a2-ac35-4502-a213-348b029ea48a" providerId="ADAL" clId="{F5AEC350-99C6-4C8C-B972-8BB80A4ECA50}" dt="2025-04-02T14:45:00.517" v="5074" actId="1076"/>
        <pc:sldMkLst>
          <pc:docMk/>
          <pc:sldMk cId="904865137" sldId="2145705808"/>
        </pc:sldMkLst>
      </pc:sldChg>
      <pc:sldChg chg="modSp add mod setBg">
        <pc:chgData name="Freddy J. Jimenez" userId="39abb9a2-ac35-4502-a213-348b029ea48a" providerId="ADAL" clId="{F5AEC350-99C6-4C8C-B972-8BB80A4ECA50}" dt="2025-04-02T14:45:33.765" v="5077" actId="1076"/>
        <pc:sldMkLst>
          <pc:docMk/>
          <pc:sldMk cId="2372554428" sldId="2145705809"/>
        </pc:sldMkLst>
      </pc:sldChg>
      <pc:sldChg chg="add del setBg">
        <pc:chgData name="Freddy J. Jimenez" userId="39abb9a2-ac35-4502-a213-348b029ea48a" providerId="ADAL" clId="{F5AEC350-99C6-4C8C-B972-8BB80A4ECA50}" dt="2025-04-02T14:22:35.957" v="5011" actId="2696"/>
        <pc:sldMkLst>
          <pc:docMk/>
          <pc:sldMk cId="223156292" sldId="2145705810"/>
        </pc:sldMkLst>
      </pc:sldChg>
      <pc:sldChg chg="del">
        <pc:chgData name="Freddy J. Jimenez" userId="39abb9a2-ac35-4502-a213-348b029ea48a" providerId="ADAL" clId="{F5AEC350-99C6-4C8C-B972-8BB80A4ECA50}" dt="2025-04-01T03:28:08.613" v="239" actId="47"/>
        <pc:sldMkLst>
          <pc:docMk/>
          <pc:sldMk cId="734764503" sldId="2147469150"/>
        </pc:sldMkLst>
      </pc:sldChg>
      <pc:sldChg chg="del">
        <pc:chgData name="Freddy J. Jimenez" userId="39abb9a2-ac35-4502-a213-348b029ea48a" providerId="ADAL" clId="{F5AEC350-99C6-4C8C-B972-8BB80A4ECA50}" dt="2025-04-01T03:28:10.434" v="242" actId="47"/>
        <pc:sldMkLst>
          <pc:docMk/>
          <pc:sldMk cId="1038278769" sldId="2147469151"/>
        </pc:sldMkLst>
      </pc:sldChg>
      <pc:sldMasterChg chg="delSldLayout">
        <pc:chgData name="Freddy J. Jimenez" userId="39abb9a2-ac35-4502-a213-348b029ea48a" providerId="ADAL" clId="{F5AEC350-99C6-4C8C-B972-8BB80A4ECA50}" dt="2025-04-01T03:28:11.733" v="244" actId="47"/>
        <pc:sldMasterMkLst>
          <pc:docMk/>
          <pc:sldMasterMk cId="3269917566" sldId="2147484588"/>
        </pc:sldMasterMkLst>
        <pc:sldLayoutChg chg="del">
          <pc:chgData name="Freddy J. Jimenez" userId="39abb9a2-ac35-4502-a213-348b029ea48a" providerId="ADAL" clId="{F5AEC350-99C6-4C8C-B972-8BB80A4ECA50}" dt="2025-04-01T03:28:10.434" v="242" actId="47"/>
          <pc:sldLayoutMkLst>
            <pc:docMk/>
            <pc:sldMasterMk cId="3269917566" sldId="2147484588"/>
            <pc:sldLayoutMk cId="2840820111" sldId="2147484632"/>
          </pc:sldLayoutMkLst>
        </pc:sldLayoutChg>
        <pc:sldLayoutChg chg="del">
          <pc:chgData name="Freddy J. Jimenez" userId="39abb9a2-ac35-4502-a213-348b029ea48a" providerId="ADAL" clId="{F5AEC350-99C6-4C8C-B972-8BB80A4ECA50}" dt="2025-04-01T03:28:11.733" v="244" actId="47"/>
          <pc:sldLayoutMkLst>
            <pc:docMk/>
            <pc:sldMasterMk cId="3269917566" sldId="2147484588"/>
            <pc:sldLayoutMk cId="46020980" sldId="2147484636"/>
          </pc:sldLayoutMkLst>
        </pc:sldLayoutChg>
        <pc:sldLayoutChg chg="del">
          <pc:chgData name="Freddy J. Jimenez" userId="39abb9a2-ac35-4502-a213-348b029ea48a" providerId="ADAL" clId="{F5AEC350-99C6-4C8C-B972-8BB80A4ECA50}" dt="2025-04-01T03:28:11.205" v="243" actId="47"/>
          <pc:sldLayoutMkLst>
            <pc:docMk/>
            <pc:sldMasterMk cId="3269917566" sldId="2147484588"/>
            <pc:sldLayoutMk cId="2823587740" sldId="2147484637"/>
          </pc:sldLayoutMkLst>
        </pc:sldLayoutChg>
        <pc:sldLayoutChg chg="del">
          <pc:chgData name="Freddy J. Jimenez" userId="39abb9a2-ac35-4502-a213-348b029ea48a" providerId="ADAL" clId="{F5AEC350-99C6-4C8C-B972-8BB80A4ECA50}" dt="2025-04-01T03:28:07.793" v="238" actId="47"/>
          <pc:sldLayoutMkLst>
            <pc:docMk/>
            <pc:sldMasterMk cId="3269917566" sldId="2147484588"/>
            <pc:sldLayoutMk cId="1143132442" sldId="2147484638"/>
          </pc:sldLayoutMkLst>
        </pc:sldLayoutChg>
        <pc:sldLayoutChg chg="del">
          <pc:chgData name="Freddy J. Jimenez" userId="39abb9a2-ac35-4502-a213-348b029ea48a" providerId="ADAL" clId="{F5AEC350-99C6-4C8C-B972-8BB80A4ECA50}" dt="2025-04-01T03:28:08.613" v="239" actId="47"/>
          <pc:sldLayoutMkLst>
            <pc:docMk/>
            <pc:sldMasterMk cId="3269917566" sldId="2147484588"/>
            <pc:sldLayoutMk cId="2506246507" sldId="2147484639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992E28-BC29-E048-B316-30CDEC936B8B}" type="datetimeFigureOut">
              <a:rPr lang="en-US" smtClean="0"/>
              <a:t>10/19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59B611-572A-884D-9009-F185403393A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628763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7BE721-2C2C-5041-8AEA-87A41BA4944C}" type="datetimeFigureOut">
              <a:rPr lang="en-US" smtClean="0"/>
              <a:t>10/19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4DA9585-6945-9347-A776-DE934A84F359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30910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3.xml"/><Relationship Id="rId1" Type="http://schemas.openxmlformats.org/officeDocument/2006/relationships/tags" Target="../tags/tag13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9.xml"/><Relationship Id="rId1" Type="http://schemas.openxmlformats.org/officeDocument/2006/relationships/tags" Target="../tags/tag13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0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emf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10" Type="http://schemas.openxmlformats.org/officeDocument/2006/relationships/image" Target="../media/image7.emf"/><Relationship Id="rId4" Type="http://schemas.openxmlformats.org/officeDocument/2006/relationships/oleObject" Target="../embeddings/oleObject9.bin"/><Relationship Id="rId9" Type="http://schemas.openxmlformats.org/officeDocument/2006/relationships/image" Target="../media/image6.emf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3.xml"/><Relationship Id="rId1" Type="http://schemas.openxmlformats.org/officeDocument/2006/relationships/tags" Target="../tags/tag14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5.xml"/><Relationship Id="rId1" Type="http://schemas.openxmlformats.org/officeDocument/2006/relationships/tags" Target="../tags/tag14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7.xml"/><Relationship Id="rId1" Type="http://schemas.openxmlformats.org/officeDocument/2006/relationships/tags" Target="../tags/tag14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tags" Target="../tags/tag156.xml"/><Relationship Id="rId2" Type="http://schemas.openxmlformats.org/officeDocument/2006/relationships/tags" Target="../tags/tag155.xml"/><Relationship Id="rId1" Type="http://schemas.openxmlformats.org/officeDocument/2006/relationships/tags" Target="../tags/tag15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tags" Target="../tags/tag159.xml"/><Relationship Id="rId2" Type="http://schemas.openxmlformats.org/officeDocument/2006/relationships/tags" Target="../tags/tag158.xml"/><Relationship Id="rId1" Type="http://schemas.openxmlformats.org/officeDocument/2006/relationships/tags" Target="../tags/tag15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3.xml"/><Relationship Id="rId1" Type="http://schemas.openxmlformats.org/officeDocument/2006/relationships/tags" Target="../tags/tag16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7.xml"/><Relationship Id="rId1" Type="http://schemas.openxmlformats.org/officeDocument/2006/relationships/tags" Target="../tags/tag16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9.xml"/><Relationship Id="rId1" Type="http://schemas.openxmlformats.org/officeDocument/2006/relationships/tags" Target="../tags/tag16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1.xml"/><Relationship Id="rId1" Type="http://schemas.openxmlformats.org/officeDocument/2006/relationships/tags" Target="../tags/tag17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3.xml"/><Relationship Id="rId1" Type="http://schemas.openxmlformats.org/officeDocument/2006/relationships/tags" Target="../tags/tag17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5.xml"/><Relationship Id="rId1" Type="http://schemas.openxmlformats.org/officeDocument/2006/relationships/tags" Target="../tags/tag17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7.xml"/><Relationship Id="rId1" Type="http://schemas.openxmlformats.org/officeDocument/2006/relationships/tags" Target="../tags/tag17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9.xml"/><Relationship Id="rId1" Type="http://schemas.openxmlformats.org/officeDocument/2006/relationships/tags" Target="../tags/tag17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3.xml"/><Relationship Id="rId1" Type="http://schemas.openxmlformats.org/officeDocument/2006/relationships/tags" Target="../tags/tag182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9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30.bin"/></Relationships>
</file>

<file path=ppt/slideLayouts/_rels/slideLayout1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8.png"/><Relationship Id="rId2" Type="http://schemas.openxmlformats.org/officeDocument/2006/relationships/tags" Target="../tags/tag187.xml"/><Relationship Id="rId1" Type="http://schemas.openxmlformats.org/officeDocument/2006/relationships/tags" Target="../tags/tag186.xml"/><Relationship Id="rId6" Type="http://schemas.openxmlformats.org/officeDocument/2006/relationships/image" Target="../media/image17.png"/><Relationship Id="rId5" Type="http://schemas.openxmlformats.org/officeDocument/2006/relationships/image" Target="../media/image8.emf"/><Relationship Id="rId10" Type="http://schemas.openxmlformats.org/officeDocument/2006/relationships/image" Target="../media/image21.jpeg"/><Relationship Id="rId4" Type="http://schemas.openxmlformats.org/officeDocument/2006/relationships/oleObject" Target="../embeddings/oleObject32.bin"/><Relationship Id="rId9" Type="http://schemas.openxmlformats.org/officeDocument/2006/relationships/image" Target="../media/image20.png"/></Relationships>
</file>

<file path=ppt/slideLayouts/_rels/slideLayout1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3.png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Relationship Id="rId9" Type="http://schemas.openxmlformats.org/officeDocument/2006/relationships/image" Target="../media/image25.png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92.xml"/><Relationship Id="rId1" Type="http://schemas.openxmlformats.org/officeDocument/2006/relationships/tags" Target="../tags/tag19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94.xml"/><Relationship Id="rId1" Type="http://schemas.openxmlformats.org/officeDocument/2006/relationships/tags" Target="../tags/tag19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96.xml"/><Relationship Id="rId1" Type="http://schemas.openxmlformats.org/officeDocument/2006/relationships/tags" Target="../tags/tag19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98.xml"/><Relationship Id="rId1" Type="http://schemas.openxmlformats.org/officeDocument/2006/relationships/tags" Target="../tags/tag19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00.xml"/><Relationship Id="rId1" Type="http://schemas.openxmlformats.org/officeDocument/2006/relationships/tags" Target="../tags/tag19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02.xml"/><Relationship Id="rId1" Type="http://schemas.openxmlformats.org/officeDocument/2006/relationships/tags" Target="../tags/tag20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04.xml"/><Relationship Id="rId1" Type="http://schemas.openxmlformats.org/officeDocument/2006/relationships/tags" Target="../tags/tag20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4.emf"/><Relationship Id="rId2" Type="http://schemas.openxmlformats.org/officeDocument/2006/relationships/tags" Target="../tags/tag206.xml"/><Relationship Id="rId1" Type="http://schemas.openxmlformats.org/officeDocument/2006/relationships/tags" Target="../tags/tag205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10" Type="http://schemas.openxmlformats.org/officeDocument/2006/relationships/image" Target="../media/image7.emf"/><Relationship Id="rId4" Type="http://schemas.openxmlformats.org/officeDocument/2006/relationships/oleObject" Target="../embeddings/oleObject9.bin"/><Relationship Id="rId9" Type="http://schemas.openxmlformats.org/officeDocument/2006/relationships/image" Target="../media/image6.emf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08.xml"/><Relationship Id="rId1" Type="http://schemas.openxmlformats.org/officeDocument/2006/relationships/tags" Target="../tags/tag20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0.xml"/><Relationship Id="rId1" Type="http://schemas.openxmlformats.org/officeDocument/2006/relationships/tags" Target="../tags/tag20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2.xml"/><Relationship Id="rId1" Type="http://schemas.openxmlformats.org/officeDocument/2006/relationships/tags" Target="../tags/tag2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4.xml"/><Relationship Id="rId1" Type="http://schemas.openxmlformats.org/officeDocument/2006/relationships/tags" Target="../tags/tag2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6.xml"/><Relationship Id="rId1" Type="http://schemas.openxmlformats.org/officeDocument/2006/relationships/tags" Target="../tags/tag2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8.xml"/><Relationship Id="rId1" Type="http://schemas.openxmlformats.org/officeDocument/2006/relationships/tags" Target="../tags/tag2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tags" Target="../tags/tag221.xml"/><Relationship Id="rId2" Type="http://schemas.openxmlformats.org/officeDocument/2006/relationships/tags" Target="../tags/tag220.xml"/><Relationship Id="rId1" Type="http://schemas.openxmlformats.org/officeDocument/2006/relationships/tags" Target="../tags/tag21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tags" Target="../tags/tag224.xml"/><Relationship Id="rId2" Type="http://schemas.openxmlformats.org/officeDocument/2006/relationships/tags" Target="../tags/tag223.xml"/><Relationship Id="rId1" Type="http://schemas.openxmlformats.org/officeDocument/2006/relationships/tags" Target="../tags/tag22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6.xml"/><Relationship Id="rId1" Type="http://schemas.openxmlformats.org/officeDocument/2006/relationships/tags" Target="../tags/tag2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8.xml"/><Relationship Id="rId1" Type="http://schemas.openxmlformats.org/officeDocument/2006/relationships/tags" Target="../tags/tag22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0.xml"/><Relationship Id="rId1" Type="http://schemas.openxmlformats.org/officeDocument/2006/relationships/tags" Target="../tags/tag22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2.xml"/><Relationship Id="rId1" Type="http://schemas.openxmlformats.org/officeDocument/2006/relationships/tags" Target="../tags/tag23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4.xml"/><Relationship Id="rId1" Type="http://schemas.openxmlformats.org/officeDocument/2006/relationships/tags" Target="../tags/tag23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6.xml"/><Relationship Id="rId1" Type="http://schemas.openxmlformats.org/officeDocument/2006/relationships/tags" Target="../tags/tag23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8.xml"/><Relationship Id="rId1" Type="http://schemas.openxmlformats.org/officeDocument/2006/relationships/tags" Target="../tags/tag23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40.xml"/><Relationship Id="rId1" Type="http://schemas.openxmlformats.org/officeDocument/2006/relationships/tags" Target="../tags/tag23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42.xml"/><Relationship Id="rId1" Type="http://schemas.openxmlformats.org/officeDocument/2006/relationships/tags" Target="../tags/tag24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44.xml"/><Relationship Id="rId1" Type="http://schemas.openxmlformats.org/officeDocument/2006/relationships/tags" Target="../tags/tag24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46.xml"/><Relationship Id="rId1" Type="http://schemas.openxmlformats.org/officeDocument/2006/relationships/tags" Target="../tags/tag24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48.xml"/><Relationship Id="rId1" Type="http://schemas.openxmlformats.org/officeDocument/2006/relationships/tags" Target="../tags/tag247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9.bin"/></Relationships>
</file>

<file path=ppt/slideLayouts/_rels/slideLayout1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23.png"/><Relationship Id="rId2" Type="http://schemas.openxmlformats.org/officeDocument/2006/relationships/tags" Target="../tags/tag250.xml"/><Relationship Id="rId1" Type="http://schemas.openxmlformats.org/officeDocument/2006/relationships/tags" Target="../tags/tag249.x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Relationship Id="rId9" Type="http://schemas.openxmlformats.org/officeDocument/2006/relationships/image" Target="../media/image25.png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51.xml"/><Relationship Id="rId4" Type="http://schemas.openxmlformats.org/officeDocument/2006/relationships/image" Target="../media/image15.emf"/></Relationships>
</file>

<file path=ppt/slideLayouts/_rels/slideLayout1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8.png"/><Relationship Id="rId2" Type="http://schemas.openxmlformats.org/officeDocument/2006/relationships/tags" Target="../tags/tag253.xml"/><Relationship Id="rId1" Type="http://schemas.openxmlformats.org/officeDocument/2006/relationships/tags" Target="../tags/tag252.xml"/><Relationship Id="rId6" Type="http://schemas.openxmlformats.org/officeDocument/2006/relationships/image" Target="../media/image26.jpeg"/><Relationship Id="rId5" Type="http://schemas.openxmlformats.org/officeDocument/2006/relationships/image" Target="../media/image8.emf"/><Relationship Id="rId10" Type="http://schemas.openxmlformats.org/officeDocument/2006/relationships/image" Target="../media/image17.png"/><Relationship Id="rId4" Type="http://schemas.openxmlformats.org/officeDocument/2006/relationships/oleObject" Target="../embeddings/oleObject32.bin"/><Relationship Id="rId9" Type="http://schemas.openxmlformats.org/officeDocument/2006/relationships/image" Target="../media/image20.png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emf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10" Type="http://schemas.openxmlformats.org/officeDocument/2006/relationships/image" Target="../media/image7.emf"/><Relationship Id="rId4" Type="http://schemas.openxmlformats.org/officeDocument/2006/relationships/oleObject" Target="../embeddings/oleObject9.bin"/><Relationship Id="rId9" Type="http://schemas.openxmlformats.org/officeDocument/2006/relationships/image" Target="../media/image6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10" Type="http://schemas.openxmlformats.org/officeDocument/2006/relationships/image" Target="../media/image7.emf"/><Relationship Id="rId4" Type="http://schemas.openxmlformats.org/officeDocument/2006/relationships/oleObject" Target="../embeddings/oleObject9.bin"/><Relationship Id="rId9" Type="http://schemas.openxmlformats.org/officeDocument/2006/relationships/image" Target="../media/image6.emf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9.bin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30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4.xml"/><Relationship Id="rId4" Type="http://schemas.openxmlformats.org/officeDocument/2006/relationships/image" Target="../media/image15.emf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1.xml"/><Relationship Id="rId1" Type="http://schemas.openxmlformats.org/officeDocument/2006/relationships/tags" Target="../tags/tag13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Strategy Slide -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C1C7DF17-DA3C-48C3-9DA4-B3581C9447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83340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C1C7DF17-DA3C-48C3-9DA4-B3581C9447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113ED5A2-EF0D-4D88-9E59-8326B064734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431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NTENTS PAGE/SLIDE WITH NUMBERS.</a:t>
            </a:r>
          </a:p>
        </p:txBody>
      </p:sp>
      <p:graphicFrame>
        <p:nvGraphicFramePr>
          <p:cNvPr id="12" name="Table 11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281127484"/>
              </p:ext>
            </p:extLst>
          </p:nvPr>
        </p:nvGraphicFramePr>
        <p:xfrm>
          <a:off x="725212" y="1553302"/>
          <a:ext cx="10773104" cy="4246129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94488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243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INTRODUCTION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6254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FIRST TOPIC HER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  <a:endParaRPr lang="en-US" sz="1200" baseline="0">
                        <a:solidFill>
                          <a:schemeClr val="accent3"/>
                        </a:solidFill>
                      </a:endParaRP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Third Subject Heading Her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3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4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5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3682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SECOND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TOPIC HER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7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8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9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THIRD TOPIC HERE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0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FOURTH TOPIC HERE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62546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FIFTH TOPIC HERE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Third Subject Heading Her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8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19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20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21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SIXTH TOPIC HERE.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2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SEVENTH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TOPIC HER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4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7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8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8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F945ED85-C121-4CA6-9C0F-F5FD0435769D}" type="datetime2">
              <a:rPr lang="en-US" smtClean="0"/>
              <a:t>Sunday, October 19, 2025</a:t>
            </a:fld>
            <a:endParaRPr lang="en-US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3396145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 Strategy Slide - 6 Numbered Boxes with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A6332E3-50CE-44E3-83B9-01CBCE3225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34769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A6332E3-50CE-44E3-83B9-01CBCE3225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029B26ED-7F28-492C-9DAD-E29F57B801D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431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NUMBERED BOXES WITH TEXT.</a:t>
            </a:r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CA115123-D0E3-4220-9403-740338092D61}" type="datetime2">
              <a:rPr lang="en-US" smtClean="0"/>
              <a:t>Sunday, October 19, 2025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304418" y="23238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.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073149" y="1933792"/>
            <a:ext cx="2968763" cy="323086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841881" y="1850814"/>
            <a:ext cx="462537" cy="4625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841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923918" y="23238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</a:t>
            </a:r>
            <a:endParaRPr lang="en-US"/>
          </a:p>
        </p:txBody>
      </p:sp>
      <p:sp>
        <p:nvSpPr>
          <p:cNvPr id="49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4692649" y="1933792"/>
            <a:ext cx="2968763" cy="323086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4461381" y="1850814"/>
            <a:ext cx="462537" cy="462537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1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4613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543418" y="23238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55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8312149" y="1933792"/>
            <a:ext cx="2968763" cy="323086"/>
          </a:xfrm>
          <a:prstGeom prst="rect">
            <a:avLst/>
          </a:prstGeom>
          <a:solidFill>
            <a:schemeClr val="accent3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6" name="Oval 55"/>
          <p:cNvSpPr/>
          <p:nvPr userDrawn="1"/>
        </p:nvSpPr>
        <p:spPr>
          <a:xfrm>
            <a:off x="8080881" y="1850814"/>
            <a:ext cx="462537" cy="46253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7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8080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1304418" y="45590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</a:t>
            </a:r>
            <a:endParaRPr lang="en-US"/>
          </a:p>
        </p:txBody>
      </p:sp>
      <p:sp>
        <p:nvSpPr>
          <p:cNvPr id="22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1073149" y="4168992"/>
            <a:ext cx="2968763" cy="323086"/>
          </a:xfrm>
          <a:prstGeom prst="rect">
            <a:avLst/>
          </a:prstGeom>
          <a:solidFill>
            <a:schemeClr val="accent3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23" name="Oval 22"/>
          <p:cNvSpPr/>
          <p:nvPr userDrawn="1"/>
        </p:nvSpPr>
        <p:spPr>
          <a:xfrm>
            <a:off x="841881" y="4086014"/>
            <a:ext cx="462537" cy="46253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841881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4923918" y="45590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4692649" y="4168992"/>
            <a:ext cx="2968763" cy="323086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27" name="Oval 26"/>
          <p:cNvSpPr/>
          <p:nvPr userDrawn="1"/>
        </p:nvSpPr>
        <p:spPr>
          <a:xfrm>
            <a:off x="4461381" y="4086014"/>
            <a:ext cx="462537" cy="462537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8" name="Text Placeholder 10"/>
          <p:cNvSpPr>
            <a:spLocks noGrp="1"/>
          </p:cNvSpPr>
          <p:nvPr>
            <p:ph type="body" sz="quarter" idx="29" hasCustomPrompt="1"/>
          </p:nvPr>
        </p:nvSpPr>
        <p:spPr>
          <a:xfrm>
            <a:off x="4461381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30" hasCustomPrompt="1"/>
          </p:nvPr>
        </p:nvSpPr>
        <p:spPr>
          <a:xfrm>
            <a:off x="8543418" y="45590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.</a:t>
            </a:r>
          </a:p>
        </p:txBody>
      </p:sp>
      <p:sp>
        <p:nvSpPr>
          <p:cNvPr id="30" name="Text Placeholder 8"/>
          <p:cNvSpPr>
            <a:spLocks noGrp="1"/>
          </p:cNvSpPr>
          <p:nvPr>
            <p:ph type="body" sz="quarter" idx="31" hasCustomPrompt="1"/>
          </p:nvPr>
        </p:nvSpPr>
        <p:spPr>
          <a:xfrm>
            <a:off x="8312149" y="4168992"/>
            <a:ext cx="2968763" cy="323086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31" name="Oval 30"/>
          <p:cNvSpPr/>
          <p:nvPr userDrawn="1"/>
        </p:nvSpPr>
        <p:spPr>
          <a:xfrm>
            <a:off x="8080881" y="4086014"/>
            <a:ext cx="462537" cy="4625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2" name="Text Placeholder 10"/>
          <p:cNvSpPr>
            <a:spLocks noGrp="1"/>
          </p:cNvSpPr>
          <p:nvPr>
            <p:ph type="body" sz="quarter" idx="32" hasCustomPrompt="1"/>
          </p:nvPr>
        </p:nvSpPr>
        <p:spPr>
          <a:xfrm>
            <a:off x="8080881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3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63876608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 Strategy Slide - Large Bol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6A3F2D9-FAC1-4D18-8C97-DBDC768D02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6A3F2D9-FAC1-4D18-8C97-DBDC768D02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95A114C1-F623-4826-A9AE-014E3B65CF2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050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LARGE BOLD TEXT FOR CREATIVE INTEREST.</a:t>
            </a:r>
          </a:p>
        </p:txBody>
      </p:sp>
      <p:sp>
        <p:nvSpPr>
          <p:cNvPr id="44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799" y="1698045"/>
            <a:ext cx="10348785" cy="43800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4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C2952C7-C1DB-484D-A9ED-01AA716B942B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Sunday, October 19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17647142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 Strategy Slide - Large Bold 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C7B8557E-3425-4C56-B007-F68EA4279B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C7B8557E-3425-4C56-B007-F68EA4279B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EFCF03AE-A1B8-4191-A665-925EA962FBA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86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LARGE BOLD TEXT WITH PICTURE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75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799" y="1698045"/>
            <a:ext cx="6444347" cy="32050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s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</a:t>
            </a:r>
          </a:p>
        </p:txBody>
      </p:sp>
      <p:sp>
        <p:nvSpPr>
          <p:cNvPr id="7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5E5A679-65AF-46E8-997D-E3A26DFB4586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Sunday, October 19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08370026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 Strategy Slide - Numbered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1475CCC-25DD-4E5A-A479-08DE062B1C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1475CCC-25DD-4E5A-A479-08DE062B1C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DF9A9DBF-2E2C-4D76-B2FD-C0BC6BAE29E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47453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NUMBERED BULLET POINTS WITH DESCRIPTIONS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736571" y="1548820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| 01</a:t>
            </a:r>
          </a:p>
        </p:txBody>
      </p:sp>
      <p:sp>
        <p:nvSpPr>
          <p:cNvPr id="75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546783" y="1548820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4" y="2080519"/>
            <a:ext cx="5980386" cy="408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aseline="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76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36571" y="2678157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| 02</a:t>
            </a:r>
          </a:p>
        </p:txBody>
      </p:sp>
      <p:sp>
        <p:nvSpPr>
          <p:cNvPr id="77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546783" y="2678157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7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725214" y="3209856"/>
            <a:ext cx="5475889" cy="408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79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36571" y="3809511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| 03</a:t>
            </a:r>
          </a:p>
        </p:txBody>
      </p:sp>
      <p:sp>
        <p:nvSpPr>
          <p:cNvPr id="80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1546783" y="3809511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81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725214" y="4341210"/>
            <a:ext cx="5707117" cy="392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5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736571" y="4927598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| 04</a:t>
            </a:r>
          </a:p>
        </p:txBody>
      </p:sp>
      <p:sp>
        <p:nvSpPr>
          <p:cNvPr id="86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1546783" y="4927598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87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725214" y="5459297"/>
            <a:ext cx="5085527" cy="392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D11C14-1D90-4E49-861E-C07B5B047CC5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Sunday, October 19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89331776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 Strategy Slide - Icon/Symbol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4287AC9-49FF-42C4-9E2B-EFFCA46BA6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44287AC9-49FF-42C4-9E2B-EFFCA46BA6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0998EBE3-5450-473D-B6E8-C6CAF10357F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86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CON/SYMBOL BULLET POINTS WITH PICTURE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75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546782" y="1548820"/>
            <a:ext cx="5493795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4" hasCustomPrompt="1"/>
          </p:nvPr>
        </p:nvSpPr>
        <p:spPr>
          <a:xfrm>
            <a:off x="725213" y="1536239"/>
            <a:ext cx="726483" cy="584200"/>
          </a:xfrm>
          <a:prstGeom prst="rect">
            <a:avLst/>
          </a:prstGeom>
          <a:solidFill>
            <a:schemeClr val="accent3">
              <a:lumMod val="5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54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1546782" y="2362201"/>
            <a:ext cx="5751873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55" name="Picture Placeholder 5"/>
          <p:cNvSpPr>
            <a:spLocks noGrp="1"/>
          </p:cNvSpPr>
          <p:nvPr>
            <p:ph type="pic" sz="quarter" idx="26" hasCustomPrompt="1"/>
          </p:nvPr>
        </p:nvSpPr>
        <p:spPr>
          <a:xfrm>
            <a:off x="725213" y="2349620"/>
            <a:ext cx="726483" cy="584200"/>
          </a:xfrm>
          <a:prstGeom prst="rect">
            <a:avLst/>
          </a:prstGeom>
          <a:solidFill>
            <a:schemeClr val="accent3">
              <a:lumMod val="75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82" name="Text Placeholder 9"/>
          <p:cNvSpPr>
            <a:spLocks noGrp="1"/>
          </p:cNvSpPr>
          <p:nvPr>
            <p:ph type="body" sz="quarter" idx="27" hasCustomPrompt="1"/>
          </p:nvPr>
        </p:nvSpPr>
        <p:spPr>
          <a:xfrm>
            <a:off x="1546783" y="3191126"/>
            <a:ext cx="4801368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3" name="Picture Placeholder 5"/>
          <p:cNvSpPr>
            <a:spLocks noGrp="1"/>
          </p:cNvSpPr>
          <p:nvPr>
            <p:ph type="pic" sz="quarter" idx="28" hasCustomPrompt="1"/>
          </p:nvPr>
        </p:nvSpPr>
        <p:spPr>
          <a:xfrm>
            <a:off x="725213" y="3178545"/>
            <a:ext cx="726483" cy="584200"/>
          </a:xfrm>
          <a:prstGeom prst="rect">
            <a:avLst/>
          </a:prstGeom>
          <a:solidFill>
            <a:schemeClr val="accent3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84" name="Text Placeholder 9"/>
          <p:cNvSpPr>
            <a:spLocks noGrp="1"/>
          </p:cNvSpPr>
          <p:nvPr>
            <p:ph type="body" sz="quarter" idx="29" hasCustomPrompt="1"/>
          </p:nvPr>
        </p:nvSpPr>
        <p:spPr>
          <a:xfrm>
            <a:off x="1546783" y="4034623"/>
            <a:ext cx="5493794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br>
              <a:rPr lang="en-US"/>
            </a:b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8" name="Picture Placeholder 5"/>
          <p:cNvSpPr>
            <a:spLocks noGrp="1"/>
          </p:cNvSpPr>
          <p:nvPr>
            <p:ph type="pic" sz="quarter" idx="30" hasCustomPrompt="1"/>
          </p:nvPr>
        </p:nvSpPr>
        <p:spPr>
          <a:xfrm>
            <a:off x="725213" y="4022042"/>
            <a:ext cx="726483" cy="584200"/>
          </a:xfrm>
          <a:prstGeom prst="rect">
            <a:avLst/>
          </a:prstGeom>
          <a:solidFill>
            <a:schemeClr val="tx1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93" name="Text Placeholder 9"/>
          <p:cNvSpPr>
            <a:spLocks noGrp="1"/>
          </p:cNvSpPr>
          <p:nvPr>
            <p:ph type="body" sz="quarter" idx="31" hasCustomPrompt="1"/>
          </p:nvPr>
        </p:nvSpPr>
        <p:spPr>
          <a:xfrm>
            <a:off x="1546783" y="4874167"/>
            <a:ext cx="5863010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94" name="Picture Placeholder 5"/>
          <p:cNvSpPr>
            <a:spLocks noGrp="1"/>
          </p:cNvSpPr>
          <p:nvPr>
            <p:ph type="pic" sz="quarter" idx="32" hasCustomPrompt="1"/>
          </p:nvPr>
        </p:nvSpPr>
        <p:spPr>
          <a:xfrm>
            <a:off x="725213" y="4861586"/>
            <a:ext cx="726483" cy="584200"/>
          </a:xfrm>
          <a:prstGeom prst="rect">
            <a:avLst/>
          </a:prstGeom>
          <a:solidFill>
            <a:schemeClr val="tx2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9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55A82DC-71FF-4B7D-BDCE-824A3FE355FE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Sunday, October 19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13739848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 Strategy Slide - 5 Circle Icon/Symbol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AA60490-AFBD-4A8C-89FB-A49BAD6482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AA60490-AFBD-4A8C-89FB-A49BAD648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49DCABD1-BEAA-4EEC-924B-C9FBB23FEA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cxnSp>
        <p:nvCxnSpPr>
          <p:cNvPr id="92" name="Straight Connector 91"/>
          <p:cNvCxnSpPr/>
          <p:nvPr userDrawn="1"/>
        </p:nvCxnSpPr>
        <p:spPr>
          <a:xfrm>
            <a:off x="2069538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/>
          <p:cNvCxnSpPr/>
          <p:nvPr userDrawn="1"/>
        </p:nvCxnSpPr>
        <p:spPr>
          <a:xfrm>
            <a:off x="4054400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1750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FIVE CIRCLE ICON/SYMBOLS WITH BULLET POINTS.</a:t>
            </a:r>
          </a:p>
        </p:txBody>
      </p:sp>
      <p:sp>
        <p:nvSpPr>
          <p:cNvPr id="80" name="Oval 79"/>
          <p:cNvSpPr/>
          <p:nvPr userDrawn="1"/>
        </p:nvSpPr>
        <p:spPr>
          <a:xfrm>
            <a:off x="1401475" y="1653167"/>
            <a:ext cx="1341345" cy="1341345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5" name="TextBox 84"/>
          <p:cNvSpPr txBox="1"/>
          <p:nvPr userDrawn="1"/>
        </p:nvSpPr>
        <p:spPr>
          <a:xfrm>
            <a:off x="1636402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1</a:t>
            </a:r>
          </a:p>
        </p:txBody>
      </p:sp>
      <p:pic>
        <p:nvPicPr>
          <p:cNvPr id="86" name="Picture 85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7578" y="2424127"/>
            <a:ext cx="575529" cy="383686"/>
          </a:xfrm>
          <a:prstGeom prst="rect">
            <a:avLst/>
          </a:prstGeom>
        </p:spPr>
      </p:pic>
      <p:sp>
        <p:nvSpPr>
          <p:cNvPr id="10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1232815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106E273-2F29-4664-B35A-DBD08D962A48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Sunday, October 19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6" name="Oval 105"/>
          <p:cNvSpPr/>
          <p:nvPr userDrawn="1"/>
        </p:nvSpPr>
        <p:spPr>
          <a:xfrm>
            <a:off x="3386337" y="1653167"/>
            <a:ext cx="1341345" cy="1341345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7" name="TextBox 106"/>
          <p:cNvSpPr txBox="1"/>
          <p:nvPr userDrawn="1"/>
        </p:nvSpPr>
        <p:spPr>
          <a:xfrm>
            <a:off x="3621264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2</a:t>
            </a:r>
          </a:p>
        </p:txBody>
      </p:sp>
      <p:sp>
        <p:nvSpPr>
          <p:cNvPr id="111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217677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99" name="Picture 98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15852" y="2409762"/>
            <a:ext cx="277095" cy="512721"/>
          </a:xfrm>
          <a:prstGeom prst="rect">
            <a:avLst/>
          </a:prstGeom>
        </p:spPr>
      </p:pic>
      <p:cxnSp>
        <p:nvCxnSpPr>
          <p:cNvPr id="112" name="Straight Connector 111"/>
          <p:cNvCxnSpPr/>
          <p:nvPr userDrawn="1"/>
        </p:nvCxnSpPr>
        <p:spPr>
          <a:xfrm>
            <a:off x="6044322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Oval 112"/>
          <p:cNvSpPr/>
          <p:nvPr userDrawn="1"/>
        </p:nvSpPr>
        <p:spPr>
          <a:xfrm>
            <a:off x="5376259" y="1653167"/>
            <a:ext cx="1341345" cy="1341345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4" name="TextBox 113"/>
          <p:cNvSpPr txBox="1"/>
          <p:nvPr userDrawn="1"/>
        </p:nvSpPr>
        <p:spPr>
          <a:xfrm>
            <a:off x="5611186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3</a:t>
            </a:r>
          </a:p>
        </p:txBody>
      </p:sp>
      <p:sp>
        <p:nvSpPr>
          <p:cNvPr id="11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207599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98" name="Picture 97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75509" y="2370311"/>
            <a:ext cx="537625" cy="472590"/>
          </a:xfrm>
          <a:prstGeom prst="rect">
            <a:avLst/>
          </a:prstGeom>
        </p:spPr>
      </p:pic>
      <p:cxnSp>
        <p:nvCxnSpPr>
          <p:cNvPr id="118" name="Straight Connector 117"/>
          <p:cNvCxnSpPr/>
          <p:nvPr userDrawn="1"/>
        </p:nvCxnSpPr>
        <p:spPr>
          <a:xfrm>
            <a:off x="8017846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Oval 118"/>
          <p:cNvSpPr/>
          <p:nvPr userDrawn="1"/>
        </p:nvSpPr>
        <p:spPr>
          <a:xfrm>
            <a:off x="7349783" y="1653167"/>
            <a:ext cx="1341345" cy="1341345"/>
          </a:xfrm>
          <a:prstGeom prst="ellipse">
            <a:avLst/>
          </a:prstGeom>
          <a:solidFill>
            <a:schemeClr val="tx1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0" name="TextBox 119"/>
          <p:cNvSpPr txBox="1"/>
          <p:nvPr userDrawn="1"/>
        </p:nvSpPr>
        <p:spPr>
          <a:xfrm>
            <a:off x="7584710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4</a:t>
            </a:r>
          </a:p>
        </p:txBody>
      </p:sp>
      <p:sp>
        <p:nvSpPr>
          <p:cNvPr id="122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181123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100" name="Picture 99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1756" y="2406174"/>
            <a:ext cx="432179" cy="410414"/>
          </a:xfrm>
          <a:prstGeom prst="rect">
            <a:avLst/>
          </a:prstGeom>
        </p:spPr>
      </p:pic>
      <p:cxnSp>
        <p:nvCxnSpPr>
          <p:cNvPr id="124" name="Straight Connector 123"/>
          <p:cNvCxnSpPr/>
          <p:nvPr userDrawn="1"/>
        </p:nvCxnSpPr>
        <p:spPr>
          <a:xfrm>
            <a:off x="9988760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Oval 124"/>
          <p:cNvSpPr/>
          <p:nvPr userDrawn="1"/>
        </p:nvSpPr>
        <p:spPr>
          <a:xfrm>
            <a:off x="9320697" y="1653167"/>
            <a:ext cx="1341345" cy="1341345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6" name="TextBox 125"/>
          <p:cNvSpPr txBox="1"/>
          <p:nvPr userDrawn="1"/>
        </p:nvSpPr>
        <p:spPr>
          <a:xfrm>
            <a:off x="9555624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5</a:t>
            </a:r>
          </a:p>
        </p:txBody>
      </p:sp>
      <p:sp>
        <p:nvSpPr>
          <p:cNvPr id="12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52037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130" name="Picture 129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0669" y="2430632"/>
            <a:ext cx="596182" cy="340676"/>
          </a:xfrm>
          <a:prstGeom prst="rect">
            <a:avLst/>
          </a:prstGeom>
        </p:spPr>
      </p:pic>
      <p:sp>
        <p:nvSpPr>
          <p:cNvPr id="42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1232815" y="3524598"/>
            <a:ext cx="1672617" cy="396240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PEOPLE</a:t>
            </a:r>
          </a:p>
        </p:txBody>
      </p:sp>
      <p:sp>
        <p:nvSpPr>
          <p:cNvPr id="43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3215559" y="3524598"/>
            <a:ext cx="1672617" cy="396240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PLACE</a:t>
            </a:r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5208012" y="3524598"/>
            <a:ext cx="1672617" cy="396240"/>
          </a:xfrm>
          <a:prstGeom prst="rect">
            <a:avLst/>
          </a:prstGeo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TIME</a:t>
            </a:r>
          </a:p>
        </p:txBody>
      </p:sp>
      <p:sp>
        <p:nvSpPr>
          <p:cNvPr id="45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7176317" y="3524598"/>
            <a:ext cx="1672617" cy="396240"/>
          </a:xfrm>
          <a:prstGeom prst="rect">
            <a:avLst/>
          </a:prstGeo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RESULTS</a:t>
            </a:r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28" hasCustomPrompt="1"/>
          </p:nvPr>
        </p:nvSpPr>
        <p:spPr>
          <a:xfrm>
            <a:off x="9144622" y="3524598"/>
            <a:ext cx="1672617" cy="396240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FUTURE</a:t>
            </a:r>
          </a:p>
        </p:txBody>
      </p:sp>
      <p:sp>
        <p:nvSpPr>
          <p:cNvPr id="3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89575869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. Strategy Slide - 3 Numbered Boxes with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112838E-A9A3-429F-9DAF-B1CB53B26D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112838E-A9A3-429F-9DAF-B1CB53B26D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EC6C8472-1441-4E04-8D06-5FFE59E7071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58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NUMBERED BOXES WITH TEXT/BULLET POINTS.</a:t>
            </a:r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A174AE-BB7A-4AB0-9DF5-4628D606C30C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Sunday, October 19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304418" y="2323839"/>
            <a:ext cx="2737494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073149" y="1933792"/>
            <a:ext cx="2968763" cy="323086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841881" y="1850814"/>
            <a:ext cx="462537" cy="4625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841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923918" y="2323839"/>
            <a:ext cx="2737494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49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4692649" y="1933792"/>
            <a:ext cx="2968763" cy="323086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4461381" y="1850814"/>
            <a:ext cx="462537" cy="462537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1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4613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543418" y="2323839"/>
            <a:ext cx="2737494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55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8312149" y="1933792"/>
            <a:ext cx="2968763" cy="323086"/>
          </a:xfrm>
          <a:prstGeom prst="rect">
            <a:avLst/>
          </a:prstGeom>
          <a:solidFill>
            <a:schemeClr val="accent3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6" name="Oval 55"/>
          <p:cNvSpPr/>
          <p:nvPr userDrawn="1"/>
        </p:nvSpPr>
        <p:spPr>
          <a:xfrm>
            <a:off x="8080881" y="1850814"/>
            <a:ext cx="462537" cy="46253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7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8080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23107964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 Strategy Slide - 6 Numbered Boxes with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A6332E3-50CE-44E3-83B9-01CBCE3225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A6332E3-50CE-44E3-83B9-01CBCE3225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029B26ED-7F28-492C-9DAD-E29F57B801D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431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NUMBERED BOXES WITH TEXT.</a:t>
            </a:r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115123-D0E3-4220-9403-740338092D61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Sunday, October 19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304418" y="23238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.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073149" y="1933792"/>
            <a:ext cx="2968763" cy="323086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841881" y="1850814"/>
            <a:ext cx="462537" cy="4625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841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923918" y="23238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</a:t>
            </a:r>
            <a:endParaRPr lang="en-US"/>
          </a:p>
        </p:txBody>
      </p:sp>
      <p:sp>
        <p:nvSpPr>
          <p:cNvPr id="49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4692649" y="1933792"/>
            <a:ext cx="2968763" cy="323086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4461381" y="1850814"/>
            <a:ext cx="462537" cy="462537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1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4613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543418" y="23238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55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8312149" y="1933792"/>
            <a:ext cx="2968763" cy="323086"/>
          </a:xfrm>
          <a:prstGeom prst="rect">
            <a:avLst/>
          </a:prstGeom>
          <a:solidFill>
            <a:schemeClr val="accent3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6" name="Oval 55"/>
          <p:cNvSpPr/>
          <p:nvPr userDrawn="1"/>
        </p:nvSpPr>
        <p:spPr>
          <a:xfrm>
            <a:off x="8080881" y="1850814"/>
            <a:ext cx="462537" cy="46253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7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8080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1304418" y="45590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</a:t>
            </a:r>
            <a:endParaRPr lang="en-US"/>
          </a:p>
        </p:txBody>
      </p:sp>
      <p:sp>
        <p:nvSpPr>
          <p:cNvPr id="22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1073149" y="4168992"/>
            <a:ext cx="2968763" cy="323086"/>
          </a:xfrm>
          <a:prstGeom prst="rect">
            <a:avLst/>
          </a:prstGeom>
          <a:solidFill>
            <a:schemeClr val="accent3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23" name="Oval 22"/>
          <p:cNvSpPr/>
          <p:nvPr userDrawn="1"/>
        </p:nvSpPr>
        <p:spPr>
          <a:xfrm>
            <a:off x="841881" y="4086014"/>
            <a:ext cx="462537" cy="46253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841881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4923918" y="45590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4692649" y="4168992"/>
            <a:ext cx="2968763" cy="323086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27" name="Oval 26"/>
          <p:cNvSpPr/>
          <p:nvPr userDrawn="1"/>
        </p:nvSpPr>
        <p:spPr>
          <a:xfrm>
            <a:off x="4461381" y="4086014"/>
            <a:ext cx="462537" cy="462537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Text Placeholder 10"/>
          <p:cNvSpPr>
            <a:spLocks noGrp="1"/>
          </p:cNvSpPr>
          <p:nvPr>
            <p:ph type="body" sz="quarter" idx="29" hasCustomPrompt="1"/>
          </p:nvPr>
        </p:nvSpPr>
        <p:spPr>
          <a:xfrm>
            <a:off x="4461381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30" hasCustomPrompt="1"/>
          </p:nvPr>
        </p:nvSpPr>
        <p:spPr>
          <a:xfrm>
            <a:off x="8543418" y="45590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.</a:t>
            </a:r>
          </a:p>
        </p:txBody>
      </p:sp>
      <p:sp>
        <p:nvSpPr>
          <p:cNvPr id="30" name="Text Placeholder 8"/>
          <p:cNvSpPr>
            <a:spLocks noGrp="1"/>
          </p:cNvSpPr>
          <p:nvPr>
            <p:ph type="body" sz="quarter" idx="31" hasCustomPrompt="1"/>
          </p:nvPr>
        </p:nvSpPr>
        <p:spPr>
          <a:xfrm>
            <a:off x="8312149" y="4168992"/>
            <a:ext cx="2968763" cy="323086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31" name="Oval 30"/>
          <p:cNvSpPr/>
          <p:nvPr userDrawn="1"/>
        </p:nvSpPr>
        <p:spPr>
          <a:xfrm>
            <a:off x="8080881" y="4086014"/>
            <a:ext cx="462537" cy="4625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Text Placeholder 10"/>
          <p:cNvSpPr>
            <a:spLocks noGrp="1"/>
          </p:cNvSpPr>
          <p:nvPr>
            <p:ph type="body" sz="quarter" idx="32" hasCustomPrompt="1"/>
          </p:nvPr>
        </p:nvSpPr>
        <p:spPr>
          <a:xfrm>
            <a:off x="8080881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3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46846662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 Strategy Slide - Intro Text, Bullets and On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671C392B-9772-4449-B274-C8F019BF84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671C392B-9772-4449-B274-C8F019BF84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26E74A4A-0F3E-4A8E-B0F4-620BE8F88A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548877" y="1568107"/>
            <a:ext cx="4324035" cy="4411663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ONE GRAPH/CHART AND TEXT</a:t>
            </a:r>
          </a:p>
        </p:txBody>
      </p:sp>
      <p:sp>
        <p:nvSpPr>
          <p:cNvPr id="4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46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64692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C9E8CB-5A95-472E-ADEA-E9D08E09214D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Sunday, October 19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525052185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. Strategy Slide - 2 Charts and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C864BA00-0CA2-427F-BFA8-D5F899DEBB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C864BA00-0CA2-427F-BFA8-D5F899DEBB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6105DD77-FB08-49F6-A436-E8CD9C941F4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WO GRAPHS/CHARTS AND TEXT</a:t>
            </a:r>
          </a:p>
        </p:txBody>
      </p:sp>
      <p:sp>
        <p:nvSpPr>
          <p:cNvPr id="3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081A10D-3708-4E36-B916-C061A4726F31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Sunday, October 19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4" y="1876657"/>
            <a:ext cx="5116786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45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6198550" y="1876657"/>
            <a:ext cx="5116786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198549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198550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257394749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. Strategy Slide - 3 Charts and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62E4A0BD-9236-4560-A764-035A2E194F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62E4A0BD-9236-4560-A764-035A2E194F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EA18DB26-052D-48CF-8245-7E2537F0F96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1225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GRAPHS/CHART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22E148-4626-4EB1-9503-8D8976A6FF55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Sunday, October 19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4" y="1876657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6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4379234" y="1876657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37923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9" name="Chart Placeholder 4"/>
          <p:cNvSpPr>
            <a:spLocks noGrp="1"/>
          </p:cNvSpPr>
          <p:nvPr>
            <p:ph type="chart" sz="quarter" idx="18" hasCustomPrompt="1"/>
          </p:nvPr>
        </p:nvSpPr>
        <p:spPr>
          <a:xfrm>
            <a:off x="8046320" y="1876657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8046319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3006526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 Strategy Slide - Intro Text, Bullets and On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671C392B-9772-4449-B274-C8F019BF84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2673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671C392B-9772-4449-B274-C8F019BF84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26E74A4A-0F3E-4A8E-B0F4-620BE8F88A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548877" y="1568107"/>
            <a:ext cx="4324035" cy="4411663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ONE GRAPH/CHART AND TEXT</a:t>
            </a:r>
          </a:p>
        </p:txBody>
      </p:sp>
      <p:sp>
        <p:nvSpPr>
          <p:cNvPr id="4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46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64692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7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43C9E8CB-5A95-472E-ADEA-E9D08E09214D}" type="datetime2">
              <a:rPr lang="en-US" smtClean="0"/>
              <a:t>Sunday, October 19, 2025</a:t>
            </a:fld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65282337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. Strategy Slide - 6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594DDD6B-56B7-4BF5-B401-0BE44C4C18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594DDD6B-56B7-4BF5-B401-0BE44C4C18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F61879BC-2A52-426E-B20E-85F088398DF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2362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GRAPHS/CHART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84D6B-3917-45C9-A0A3-F1D4498C21C6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Sunday, October 19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4" y="1876658"/>
            <a:ext cx="3167517" cy="16417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6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4379234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9" name="Chart Placeholder 4"/>
          <p:cNvSpPr>
            <a:spLocks noGrp="1"/>
          </p:cNvSpPr>
          <p:nvPr>
            <p:ph type="chart" sz="quarter" idx="18" hasCustomPrompt="1"/>
          </p:nvPr>
        </p:nvSpPr>
        <p:spPr>
          <a:xfrm>
            <a:off x="8046320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8" name="Chart Placeholder 4"/>
          <p:cNvSpPr>
            <a:spLocks noGrp="1"/>
          </p:cNvSpPr>
          <p:nvPr>
            <p:ph type="chart" sz="quarter" idx="21" hasCustomPrompt="1"/>
          </p:nvPr>
        </p:nvSpPr>
        <p:spPr>
          <a:xfrm>
            <a:off x="725214" y="4293286"/>
            <a:ext cx="3167517" cy="16417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72521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23" hasCustomPrompt="1"/>
          </p:nvPr>
        </p:nvSpPr>
        <p:spPr>
          <a:xfrm>
            <a:off x="4379234" y="429328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7923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2" name="Chart Placeholder 4"/>
          <p:cNvSpPr>
            <a:spLocks noGrp="1"/>
          </p:cNvSpPr>
          <p:nvPr>
            <p:ph type="chart" sz="quarter" idx="25" hasCustomPrompt="1"/>
          </p:nvPr>
        </p:nvSpPr>
        <p:spPr>
          <a:xfrm>
            <a:off x="8046320" y="429328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8046320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725214" y="3735977"/>
            <a:ext cx="10488623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110107941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. Strategy Slide - Table 9 Rows /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F3115B7E-4A1F-4068-94A8-022DF01919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416" imgH="416" progId="TCLayout.ActiveDocument.1">
                  <p:embed/>
                </p:oleObj>
              </mc:Choice>
              <mc:Fallback>
                <p:oleObj name="Diapositiva de think-cell" r:id="rId5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F3115B7E-4A1F-4068-94A8-022DF01919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CD5BEB3D-5E62-49D0-934F-D286C65AED6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349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ABLE 9 ROWS AND 9 COLUMNS</a:t>
            </a:r>
          </a:p>
        </p:txBody>
      </p:sp>
      <p:graphicFrame>
        <p:nvGraphicFramePr>
          <p:cNvPr id="33" name="Group 3"/>
          <p:cNvGraphicFramePr>
            <a:graphicFrameLocks/>
          </p:cNvGraphicFramePr>
          <p:nvPr userDrawn="1">
            <p:custDataLst>
              <p:tags r:id="rId3"/>
            </p:custDataLst>
          </p:nvPr>
        </p:nvGraphicFramePr>
        <p:xfrm>
          <a:off x="783770" y="1534944"/>
          <a:ext cx="10377812" cy="4317034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16969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33161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1" i="0" u="none" strike="noStrike" kern="1200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34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0C52EB-0F95-46A6-A8EB-EC0398BE66B2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Sunday, October 19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78614736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. Strategy Slide - Table 4 Rows /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E879D304-3645-4A8A-A35F-4B024430F4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416" imgH="416" progId="TCLayout.ActiveDocument.1">
                  <p:embed/>
                </p:oleObj>
              </mc:Choice>
              <mc:Fallback>
                <p:oleObj name="Diapositiva de think-cell" r:id="rId5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E879D304-3645-4A8A-A35F-4B024430F4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5EAFE1C7-DBDD-47B0-A3D2-F2F9F7AD560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2511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ABLE 3 COLUMNS 4 ROWS</a:t>
            </a:r>
          </a:p>
        </p:txBody>
      </p:sp>
      <p:graphicFrame>
        <p:nvGraphicFramePr>
          <p:cNvPr id="34" name="Group 4"/>
          <p:cNvGraphicFramePr>
            <a:graphicFrameLocks noGrp="1"/>
          </p:cNvGraphicFramePr>
          <p:nvPr userDrawn="1">
            <p:custDataLst>
              <p:tags r:id="rId3"/>
            </p:custDataLst>
          </p:nvPr>
        </p:nvGraphicFramePr>
        <p:xfrm>
          <a:off x="954157" y="1584125"/>
          <a:ext cx="10207427" cy="4260849"/>
        </p:xfrm>
        <a:graphic>
          <a:graphicData uri="http://schemas.openxmlformats.org/drawingml/2006/table">
            <a:tbl>
              <a:tblPr/>
              <a:tblGrid>
                <a:gridCol w="11565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169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169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169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1942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endParaRPr kumimoji="0" lang="en-US" sz="1100" b="0" i="1" u="none" strike="noStrike" cap="none" normalizeH="0" baseline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</a:endParaRP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71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..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9141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2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9383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3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8898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4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61E237-91CC-407C-BFC7-3B142DD1CA7B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Sunday, October 19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23865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. Strategy Slide - 1 Tab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EC870B3-50A2-46BE-AA7B-4A936D9F10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EC870B3-50A2-46BE-AA7B-4A936D9F10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20DBCFD6-6AB0-446C-ABE3-7A9D917775F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4" hasCustomPrompt="1"/>
          </p:nvPr>
        </p:nvSpPr>
        <p:spPr>
          <a:xfrm>
            <a:off x="7547605" y="1568107"/>
            <a:ext cx="4325307" cy="441166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2033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ONE TABLE AND TEXT</a:t>
            </a:r>
          </a:p>
        </p:txBody>
      </p:sp>
      <p:sp>
        <p:nvSpPr>
          <p:cNvPr id="4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46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64692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3F9B7A-BF56-489E-82C1-58AE830A8B0E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Sunday, October 19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96770606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. Strategy Slide - 2 Tabl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38326FD8-10A6-48A9-BAFF-C691458C18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38326FD8-10A6-48A9-BAFF-C691458C18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10934FCA-74B9-4B28-ACD0-8909FD502F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WO TABLES AND TEXT</a:t>
            </a:r>
          </a:p>
        </p:txBody>
      </p:sp>
      <p:sp>
        <p:nvSpPr>
          <p:cNvPr id="3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B5ECCD-BB21-4DEF-8FA9-1EDB0D32C5D5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Sunday, October 19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4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198549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198550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15" name="Table Placeholder 5"/>
          <p:cNvSpPr>
            <a:spLocks noGrp="1"/>
          </p:cNvSpPr>
          <p:nvPr>
            <p:ph type="tbl" sz="quarter" idx="21" hasCustomPrompt="1"/>
          </p:nvPr>
        </p:nvSpPr>
        <p:spPr>
          <a:xfrm>
            <a:off x="725213" y="1876657"/>
            <a:ext cx="511678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6" name="Table Placeholder 5"/>
          <p:cNvSpPr>
            <a:spLocks noGrp="1"/>
          </p:cNvSpPr>
          <p:nvPr>
            <p:ph type="tbl" sz="quarter" idx="22" hasCustomPrompt="1"/>
          </p:nvPr>
        </p:nvSpPr>
        <p:spPr>
          <a:xfrm>
            <a:off x="6198548" y="1876657"/>
            <a:ext cx="511678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419582987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. Strategy Slide - 3 Tabl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0F003DE-FE9D-4ABD-A7B3-2652A1F34C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40F003DE-FE9D-4ABD-A7B3-2652A1F34C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118D3152-AE5F-4DB1-B0FA-38D86D0CF73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TABLE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C73CD1-7D68-4F7C-A569-80378087C3A1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Sunday, October 19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37923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8046319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8" name="Table Placeholder 5"/>
          <p:cNvSpPr>
            <a:spLocks noGrp="1"/>
          </p:cNvSpPr>
          <p:nvPr>
            <p:ph type="tbl" sz="quarter" idx="21" hasCustomPrompt="1"/>
          </p:nvPr>
        </p:nvSpPr>
        <p:spPr>
          <a:xfrm>
            <a:off x="725213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9" name="Table Placeholder 5"/>
          <p:cNvSpPr>
            <a:spLocks noGrp="1"/>
          </p:cNvSpPr>
          <p:nvPr>
            <p:ph type="tbl" sz="quarter" idx="22" hasCustomPrompt="1"/>
          </p:nvPr>
        </p:nvSpPr>
        <p:spPr>
          <a:xfrm>
            <a:off x="4379232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0" name="Table Placeholder 5"/>
          <p:cNvSpPr>
            <a:spLocks noGrp="1"/>
          </p:cNvSpPr>
          <p:nvPr>
            <p:ph type="tbl" sz="quarter" idx="23" hasCustomPrompt="1"/>
          </p:nvPr>
        </p:nvSpPr>
        <p:spPr>
          <a:xfrm>
            <a:off x="8033882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579723287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. Strategy Slide - 6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C665559F-26E3-4E68-91A4-C0766AD4AC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C665559F-26E3-4E68-91A4-C0766AD4AC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BF262311-8DB3-40D8-A862-1E2F520E5D4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67971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TABLES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A9AF74-464C-4061-A12E-620A6602F3E4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Sunday, October 19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72521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7923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8046320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725214" y="3735977"/>
            <a:ext cx="10488623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able Placeholder 5"/>
          <p:cNvSpPr>
            <a:spLocks noGrp="1"/>
          </p:cNvSpPr>
          <p:nvPr>
            <p:ph type="tbl" sz="quarter" idx="27" hasCustomPrompt="1"/>
          </p:nvPr>
        </p:nvSpPr>
        <p:spPr>
          <a:xfrm>
            <a:off x="725213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5" name="Table Placeholder 5"/>
          <p:cNvSpPr>
            <a:spLocks noGrp="1"/>
          </p:cNvSpPr>
          <p:nvPr>
            <p:ph type="tbl" sz="quarter" idx="28" hasCustomPrompt="1"/>
          </p:nvPr>
        </p:nvSpPr>
        <p:spPr>
          <a:xfrm>
            <a:off x="4379233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6" name="Table Placeholder 5"/>
          <p:cNvSpPr>
            <a:spLocks noGrp="1"/>
          </p:cNvSpPr>
          <p:nvPr>
            <p:ph type="tbl" sz="quarter" idx="29" hasCustomPrompt="1"/>
          </p:nvPr>
        </p:nvSpPr>
        <p:spPr>
          <a:xfrm>
            <a:off x="8046320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7" name="Table Placeholder 5"/>
          <p:cNvSpPr>
            <a:spLocks noGrp="1"/>
          </p:cNvSpPr>
          <p:nvPr>
            <p:ph type="tbl" sz="quarter" idx="30" hasCustomPrompt="1"/>
          </p:nvPr>
        </p:nvSpPr>
        <p:spPr>
          <a:xfrm>
            <a:off x="725213" y="430180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8" name="Table Placeholder 5"/>
          <p:cNvSpPr>
            <a:spLocks noGrp="1"/>
          </p:cNvSpPr>
          <p:nvPr>
            <p:ph type="tbl" sz="quarter" idx="31" hasCustomPrompt="1"/>
          </p:nvPr>
        </p:nvSpPr>
        <p:spPr>
          <a:xfrm>
            <a:off x="4379233" y="430180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9" name="Table Placeholder 5"/>
          <p:cNvSpPr>
            <a:spLocks noGrp="1"/>
          </p:cNvSpPr>
          <p:nvPr>
            <p:ph type="tbl" sz="quarter" idx="32" hasCustomPrompt="1"/>
          </p:nvPr>
        </p:nvSpPr>
        <p:spPr>
          <a:xfrm>
            <a:off x="8046320" y="430180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548703670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. Strategy Slide - Process Closed Lo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AC899918-A378-45FD-8700-4E2340C899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AC899918-A378-45FD-8700-4E2340C899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9A197265-B4C3-4B35-9F5E-E038ABA274E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472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PROCESS CLOSED LOOP WITH INTRO TEXT AND BULLETS</a:t>
            </a:r>
          </a:p>
        </p:txBody>
      </p:sp>
      <p:grpSp>
        <p:nvGrpSpPr>
          <p:cNvPr id="33" name="Group 32"/>
          <p:cNvGrpSpPr/>
          <p:nvPr userDrawn="1"/>
        </p:nvGrpSpPr>
        <p:grpSpPr>
          <a:xfrm>
            <a:off x="6152742" y="1530826"/>
            <a:ext cx="5205413" cy="4535487"/>
            <a:chOff x="1905000" y="1773238"/>
            <a:chExt cx="5205413" cy="4535487"/>
          </a:xfrm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34" name="Freeform 33"/>
            <p:cNvSpPr>
              <a:spLocks/>
            </p:cNvSpPr>
            <p:nvPr/>
          </p:nvSpPr>
          <p:spPr bwMode="blackWhite">
            <a:xfrm>
              <a:off x="5729288" y="3216275"/>
              <a:ext cx="1381125" cy="1874838"/>
            </a:xfrm>
            <a:custGeom>
              <a:avLst/>
              <a:gdLst>
                <a:gd name="T0" fmla="*/ 461616 w 852"/>
                <a:gd name="T1" fmla="*/ 1873218 h 1157"/>
                <a:gd name="T2" fmla="*/ 1493670 w 852"/>
                <a:gd name="T3" fmla="*/ 1852152 h 1157"/>
                <a:gd name="T4" fmla="*/ 1172469 w 852"/>
                <a:gd name="T5" fmla="*/ 1672284 h 1157"/>
                <a:gd name="T6" fmla="*/ 1233901 w 852"/>
                <a:gd name="T7" fmla="*/ 1552372 h 1157"/>
                <a:gd name="T8" fmla="*/ 1286557 w 852"/>
                <a:gd name="T9" fmla="*/ 1429219 h 1157"/>
                <a:gd name="T10" fmla="*/ 1330437 w 852"/>
                <a:gd name="T11" fmla="*/ 1302826 h 1157"/>
                <a:gd name="T12" fmla="*/ 1360275 w 852"/>
                <a:gd name="T13" fmla="*/ 1171571 h 1157"/>
                <a:gd name="T14" fmla="*/ 1386603 w 852"/>
                <a:gd name="T15" fmla="*/ 1040316 h 1157"/>
                <a:gd name="T16" fmla="*/ 1400645 w 852"/>
                <a:gd name="T17" fmla="*/ 909061 h 1157"/>
                <a:gd name="T18" fmla="*/ 1405910 w 852"/>
                <a:gd name="T19" fmla="*/ 774566 h 1157"/>
                <a:gd name="T20" fmla="*/ 1400645 w 852"/>
                <a:gd name="T21" fmla="*/ 640070 h 1157"/>
                <a:gd name="T22" fmla="*/ 1384848 w 852"/>
                <a:gd name="T23" fmla="*/ 508815 h 1157"/>
                <a:gd name="T24" fmla="*/ 1360275 w 852"/>
                <a:gd name="T25" fmla="*/ 377560 h 1157"/>
                <a:gd name="T26" fmla="*/ 1326926 w 852"/>
                <a:gd name="T27" fmla="*/ 247926 h 1157"/>
                <a:gd name="T28" fmla="*/ 1281291 w 852"/>
                <a:gd name="T29" fmla="*/ 121532 h 1157"/>
                <a:gd name="T30" fmla="*/ 1230391 w 852"/>
                <a:gd name="T31" fmla="*/ 0 h 1157"/>
                <a:gd name="T32" fmla="*/ 956581 w 852"/>
                <a:gd name="T33" fmla="*/ 479647 h 1157"/>
                <a:gd name="T34" fmla="*/ 365080 w 852"/>
                <a:gd name="T35" fmla="*/ 471545 h 1157"/>
                <a:gd name="T36" fmla="*/ 389653 w 852"/>
                <a:gd name="T37" fmla="*/ 559048 h 1157"/>
                <a:gd name="T38" fmla="*/ 405450 w 852"/>
                <a:gd name="T39" fmla="*/ 651413 h 1157"/>
                <a:gd name="T40" fmla="*/ 412470 w 852"/>
                <a:gd name="T41" fmla="*/ 743777 h 1157"/>
                <a:gd name="T42" fmla="*/ 410715 w 852"/>
                <a:gd name="T43" fmla="*/ 832901 h 1157"/>
                <a:gd name="T44" fmla="*/ 401939 w 852"/>
                <a:gd name="T45" fmla="*/ 925266 h 1157"/>
                <a:gd name="T46" fmla="*/ 380877 w 852"/>
                <a:gd name="T47" fmla="*/ 1016010 h 1157"/>
                <a:gd name="T48" fmla="*/ 356304 w 852"/>
                <a:gd name="T49" fmla="*/ 1106754 h 1157"/>
                <a:gd name="T50" fmla="*/ 317690 w 852"/>
                <a:gd name="T51" fmla="*/ 1189396 h 1157"/>
                <a:gd name="T52" fmla="*/ 0 w 852"/>
                <a:gd name="T53" fmla="*/ 1017630 h 1157"/>
                <a:gd name="T54" fmla="*/ 461616 w 852"/>
                <a:gd name="T55" fmla="*/ 1873218 h 115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852"/>
                <a:gd name="T85" fmla="*/ 0 h 1157"/>
                <a:gd name="T86" fmla="*/ 852 w 852"/>
                <a:gd name="T87" fmla="*/ 1157 h 1157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852" h="1157">
                  <a:moveTo>
                    <a:pt x="263" y="1156"/>
                  </a:moveTo>
                  <a:lnTo>
                    <a:pt x="851" y="1143"/>
                  </a:lnTo>
                  <a:lnTo>
                    <a:pt x="668" y="1032"/>
                  </a:lnTo>
                  <a:lnTo>
                    <a:pt x="703" y="958"/>
                  </a:lnTo>
                  <a:lnTo>
                    <a:pt x="733" y="882"/>
                  </a:lnTo>
                  <a:lnTo>
                    <a:pt x="758" y="804"/>
                  </a:lnTo>
                  <a:lnTo>
                    <a:pt x="775" y="723"/>
                  </a:lnTo>
                  <a:lnTo>
                    <a:pt x="790" y="642"/>
                  </a:lnTo>
                  <a:lnTo>
                    <a:pt x="798" y="561"/>
                  </a:lnTo>
                  <a:lnTo>
                    <a:pt x="801" y="478"/>
                  </a:lnTo>
                  <a:lnTo>
                    <a:pt x="798" y="395"/>
                  </a:lnTo>
                  <a:lnTo>
                    <a:pt x="789" y="314"/>
                  </a:lnTo>
                  <a:lnTo>
                    <a:pt x="775" y="233"/>
                  </a:lnTo>
                  <a:lnTo>
                    <a:pt x="756" y="153"/>
                  </a:lnTo>
                  <a:lnTo>
                    <a:pt x="730" y="75"/>
                  </a:lnTo>
                  <a:lnTo>
                    <a:pt x="701" y="0"/>
                  </a:lnTo>
                  <a:lnTo>
                    <a:pt x="545" y="296"/>
                  </a:lnTo>
                  <a:lnTo>
                    <a:pt x="208" y="291"/>
                  </a:lnTo>
                  <a:lnTo>
                    <a:pt x="222" y="345"/>
                  </a:lnTo>
                  <a:lnTo>
                    <a:pt x="231" y="402"/>
                  </a:lnTo>
                  <a:lnTo>
                    <a:pt x="235" y="459"/>
                  </a:lnTo>
                  <a:lnTo>
                    <a:pt x="234" y="514"/>
                  </a:lnTo>
                  <a:lnTo>
                    <a:pt x="229" y="571"/>
                  </a:lnTo>
                  <a:lnTo>
                    <a:pt x="217" y="627"/>
                  </a:lnTo>
                  <a:lnTo>
                    <a:pt x="203" y="683"/>
                  </a:lnTo>
                  <a:lnTo>
                    <a:pt x="181" y="734"/>
                  </a:lnTo>
                  <a:lnTo>
                    <a:pt x="0" y="628"/>
                  </a:lnTo>
                  <a:lnTo>
                    <a:pt x="263" y="1156"/>
                  </a:lnTo>
                </a:path>
              </a:pathLst>
            </a:custGeom>
            <a:solidFill>
              <a:schemeClr val="accent3"/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blackWhite">
            <a:xfrm>
              <a:off x="5221288" y="2070100"/>
              <a:ext cx="1797050" cy="1557338"/>
            </a:xfrm>
            <a:custGeom>
              <a:avLst/>
              <a:gdLst>
                <a:gd name="T0" fmla="*/ 2147483647 w 1109"/>
                <a:gd name="T1" fmla="*/ 2147483647 h 962"/>
                <a:gd name="T2" fmla="*/ 2147483647 w 1109"/>
                <a:gd name="T3" fmla="*/ 2147483647 h 962"/>
                <a:gd name="T4" fmla="*/ 2147483647 w 1109"/>
                <a:gd name="T5" fmla="*/ 2147483647 h 962"/>
                <a:gd name="T6" fmla="*/ 2147483647 w 1109"/>
                <a:gd name="T7" fmla="*/ 2147483647 h 962"/>
                <a:gd name="T8" fmla="*/ 2147483647 w 1109"/>
                <a:gd name="T9" fmla="*/ 2147483647 h 962"/>
                <a:gd name="T10" fmla="*/ 2147483647 w 1109"/>
                <a:gd name="T11" fmla="*/ 2147483647 h 962"/>
                <a:gd name="T12" fmla="*/ 2147483647 w 1109"/>
                <a:gd name="T13" fmla="*/ 2147483647 h 962"/>
                <a:gd name="T14" fmla="*/ 2147483647 w 1109"/>
                <a:gd name="T15" fmla="*/ 2147483647 h 962"/>
                <a:gd name="T16" fmla="*/ 2147483647 w 1109"/>
                <a:gd name="T17" fmla="*/ 2147483647 h 962"/>
                <a:gd name="T18" fmla="*/ 2147483647 w 1109"/>
                <a:gd name="T19" fmla="*/ 2147483647 h 962"/>
                <a:gd name="T20" fmla="*/ 2147483647 w 1109"/>
                <a:gd name="T21" fmla="*/ 2147483647 h 962"/>
                <a:gd name="T22" fmla="*/ 2147483647 w 1109"/>
                <a:gd name="T23" fmla="*/ 2147483647 h 962"/>
                <a:gd name="T24" fmla="*/ 2147483647 w 1109"/>
                <a:gd name="T25" fmla="*/ 2147483647 h 962"/>
                <a:gd name="T26" fmla="*/ 2147483647 w 1109"/>
                <a:gd name="T27" fmla="*/ 2147483647 h 962"/>
                <a:gd name="T28" fmla="*/ 2147483647 w 1109"/>
                <a:gd name="T29" fmla="*/ 2147483647 h 962"/>
                <a:gd name="T30" fmla="*/ 2147483647 w 1109"/>
                <a:gd name="T31" fmla="*/ 2147483647 h 962"/>
                <a:gd name="T32" fmla="*/ 2147483647 w 1109"/>
                <a:gd name="T33" fmla="*/ 2147483647 h 962"/>
                <a:gd name="T34" fmla="*/ 2147483647 w 1109"/>
                <a:gd name="T35" fmla="*/ 2147483647 h 962"/>
                <a:gd name="T36" fmla="*/ 2147483647 w 1109"/>
                <a:gd name="T37" fmla="*/ 2147483647 h 962"/>
                <a:gd name="T38" fmla="*/ 0 w 1109"/>
                <a:gd name="T39" fmla="*/ 0 h 962"/>
                <a:gd name="T40" fmla="*/ 2147483647 w 1109"/>
                <a:gd name="T41" fmla="*/ 2147483647 h 962"/>
                <a:gd name="T42" fmla="*/ 2147483647 w 1109"/>
                <a:gd name="T43" fmla="*/ 2147483647 h 962"/>
                <a:gd name="T44" fmla="*/ 2147483647 w 1109"/>
                <a:gd name="T45" fmla="*/ 2147483647 h 962"/>
                <a:gd name="T46" fmla="*/ 2147483647 w 1109"/>
                <a:gd name="T47" fmla="*/ 2147483647 h 962"/>
                <a:gd name="T48" fmla="*/ 2147483647 w 1109"/>
                <a:gd name="T49" fmla="*/ 2147483647 h 962"/>
                <a:gd name="T50" fmla="*/ 2147483647 w 1109"/>
                <a:gd name="T51" fmla="*/ 2147483647 h 962"/>
                <a:gd name="T52" fmla="*/ 2147483647 w 1109"/>
                <a:gd name="T53" fmla="*/ 2147483647 h 962"/>
                <a:gd name="T54" fmla="*/ 2147483647 w 1109"/>
                <a:gd name="T55" fmla="*/ 2147483647 h 962"/>
                <a:gd name="T56" fmla="*/ 2147483647 w 1109"/>
                <a:gd name="T57" fmla="*/ 2147483647 h 962"/>
                <a:gd name="T58" fmla="*/ 2147483647 w 1109"/>
                <a:gd name="T59" fmla="*/ 2147483647 h 962"/>
                <a:gd name="T60" fmla="*/ 2147483647 w 1109"/>
                <a:gd name="T61" fmla="*/ 2147483647 h 9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109"/>
                <a:gd name="T94" fmla="*/ 0 h 962"/>
                <a:gd name="T95" fmla="*/ 1109 w 1109"/>
                <a:gd name="T96" fmla="*/ 962 h 9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109" h="962">
                  <a:moveTo>
                    <a:pt x="246" y="959"/>
                  </a:moveTo>
                  <a:lnTo>
                    <a:pt x="839" y="961"/>
                  </a:lnTo>
                  <a:lnTo>
                    <a:pt x="934" y="786"/>
                  </a:lnTo>
                  <a:lnTo>
                    <a:pt x="1023" y="611"/>
                  </a:lnTo>
                  <a:lnTo>
                    <a:pt x="1108" y="429"/>
                  </a:lnTo>
                  <a:lnTo>
                    <a:pt x="930" y="539"/>
                  </a:lnTo>
                  <a:lnTo>
                    <a:pt x="885" y="471"/>
                  </a:lnTo>
                  <a:lnTo>
                    <a:pt x="837" y="406"/>
                  </a:lnTo>
                  <a:lnTo>
                    <a:pt x="783" y="344"/>
                  </a:lnTo>
                  <a:lnTo>
                    <a:pt x="724" y="287"/>
                  </a:lnTo>
                  <a:lnTo>
                    <a:pt x="663" y="235"/>
                  </a:lnTo>
                  <a:lnTo>
                    <a:pt x="598" y="188"/>
                  </a:lnTo>
                  <a:lnTo>
                    <a:pt x="530" y="145"/>
                  </a:lnTo>
                  <a:lnTo>
                    <a:pt x="460" y="107"/>
                  </a:lnTo>
                  <a:lnTo>
                    <a:pt x="387" y="75"/>
                  </a:lnTo>
                  <a:lnTo>
                    <a:pt x="311" y="48"/>
                  </a:lnTo>
                  <a:lnTo>
                    <a:pt x="236" y="27"/>
                  </a:lnTo>
                  <a:lnTo>
                    <a:pt x="158" y="12"/>
                  </a:lnTo>
                  <a:lnTo>
                    <a:pt x="79" y="2"/>
                  </a:lnTo>
                  <a:lnTo>
                    <a:pt x="0" y="0"/>
                  </a:lnTo>
                  <a:lnTo>
                    <a:pt x="210" y="277"/>
                  </a:lnTo>
                  <a:lnTo>
                    <a:pt x="80" y="601"/>
                  </a:lnTo>
                  <a:lnTo>
                    <a:pt x="134" y="614"/>
                  </a:lnTo>
                  <a:lnTo>
                    <a:pt x="186" y="631"/>
                  </a:lnTo>
                  <a:lnTo>
                    <a:pt x="236" y="654"/>
                  </a:lnTo>
                  <a:lnTo>
                    <a:pt x="283" y="681"/>
                  </a:lnTo>
                  <a:lnTo>
                    <a:pt x="328" y="715"/>
                  </a:lnTo>
                  <a:lnTo>
                    <a:pt x="370" y="752"/>
                  </a:lnTo>
                  <a:lnTo>
                    <a:pt x="408" y="792"/>
                  </a:lnTo>
                  <a:lnTo>
                    <a:pt x="446" y="837"/>
                  </a:lnTo>
                  <a:lnTo>
                    <a:pt x="246" y="959"/>
                  </a:lnTo>
                </a:path>
              </a:pathLst>
            </a:custGeom>
            <a:solidFill>
              <a:schemeClr val="accent3">
                <a:lumMod val="75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blackWhite">
            <a:xfrm>
              <a:off x="1905000" y="1773238"/>
              <a:ext cx="3573463" cy="1779587"/>
            </a:xfrm>
            <a:custGeom>
              <a:avLst/>
              <a:gdLst>
                <a:gd name="T0" fmla="*/ 0 w 2206"/>
                <a:gd name="T1" fmla="*/ 2147483647 h 1099"/>
                <a:gd name="T2" fmla="*/ 2147483647 w 2206"/>
                <a:gd name="T3" fmla="*/ 2147483647 h 1099"/>
                <a:gd name="T4" fmla="*/ 2147483647 w 2206"/>
                <a:gd name="T5" fmla="*/ 2147483647 h 1099"/>
                <a:gd name="T6" fmla="*/ 2147483647 w 2206"/>
                <a:gd name="T7" fmla="*/ 2147483647 h 1099"/>
                <a:gd name="T8" fmla="*/ 2147483647 w 2206"/>
                <a:gd name="T9" fmla="*/ 2147483647 h 1099"/>
                <a:gd name="T10" fmla="*/ 2147483647 w 2206"/>
                <a:gd name="T11" fmla="*/ 2147483647 h 1099"/>
                <a:gd name="T12" fmla="*/ 2147483647 w 2206"/>
                <a:gd name="T13" fmla="*/ 2147483647 h 1099"/>
                <a:gd name="T14" fmla="*/ 2147483647 w 2206"/>
                <a:gd name="T15" fmla="*/ 2147483647 h 1099"/>
                <a:gd name="T16" fmla="*/ 2147483647 w 2206"/>
                <a:gd name="T17" fmla="*/ 2147483647 h 1099"/>
                <a:gd name="T18" fmla="*/ 2147483647 w 2206"/>
                <a:gd name="T19" fmla="*/ 2147483647 h 1099"/>
                <a:gd name="T20" fmla="*/ 2147483647 w 2206"/>
                <a:gd name="T21" fmla="*/ 2147483647 h 1099"/>
                <a:gd name="T22" fmla="*/ 2147483647 w 2206"/>
                <a:gd name="T23" fmla="*/ 2147483647 h 1099"/>
                <a:gd name="T24" fmla="*/ 2147483647 w 2206"/>
                <a:gd name="T25" fmla="*/ 2147483647 h 1099"/>
                <a:gd name="T26" fmla="*/ 2147483647 w 2206"/>
                <a:gd name="T27" fmla="*/ 2147483647 h 1099"/>
                <a:gd name="T28" fmla="*/ 2147483647 w 2206"/>
                <a:gd name="T29" fmla="*/ 0 h 1099"/>
                <a:gd name="T30" fmla="*/ 2147483647 w 2206"/>
                <a:gd name="T31" fmla="*/ 2147483647 h 1099"/>
                <a:gd name="T32" fmla="*/ 0 w 2206"/>
                <a:gd name="T33" fmla="*/ 2147483647 h 1099"/>
                <a:gd name="T34" fmla="*/ 0 w 2206"/>
                <a:gd name="T35" fmla="*/ 2147483647 h 109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206"/>
                <a:gd name="T55" fmla="*/ 0 h 1099"/>
                <a:gd name="T56" fmla="*/ 2206 w 2206"/>
                <a:gd name="T57" fmla="*/ 1099 h 109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206" h="1099">
                  <a:moveTo>
                    <a:pt x="0" y="864"/>
                  </a:moveTo>
                  <a:lnTo>
                    <a:pt x="1339" y="864"/>
                  </a:lnTo>
                  <a:lnTo>
                    <a:pt x="1552" y="1098"/>
                  </a:lnTo>
                  <a:lnTo>
                    <a:pt x="1587" y="1045"/>
                  </a:lnTo>
                  <a:lnTo>
                    <a:pt x="1625" y="996"/>
                  </a:lnTo>
                  <a:lnTo>
                    <a:pt x="1666" y="948"/>
                  </a:lnTo>
                  <a:lnTo>
                    <a:pt x="1711" y="906"/>
                  </a:lnTo>
                  <a:lnTo>
                    <a:pt x="1754" y="872"/>
                  </a:lnTo>
                  <a:lnTo>
                    <a:pt x="1800" y="845"/>
                  </a:lnTo>
                  <a:lnTo>
                    <a:pt x="1850" y="822"/>
                  </a:lnTo>
                  <a:lnTo>
                    <a:pt x="1900" y="803"/>
                  </a:lnTo>
                  <a:lnTo>
                    <a:pt x="1953" y="790"/>
                  </a:lnTo>
                  <a:lnTo>
                    <a:pt x="1983" y="1013"/>
                  </a:lnTo>
                  <a:lnTo>
                    <a:pt x="2205" y="471"/>
                  </a:lnTo>
                  <a:lnTo>
                    <a:pt x="1872" y="0"/>
                  </a:lnTo>
                  <a:lnTo>
                    <a:pt x="1873" y="196"/>
                  </a:lnTo>
                  <a:lnTo>
                    <a:pt x="0" y="196"/>
                  </a:lnTo>
                  <a:lnTo>
                    <a:pt x="0" y="864"/>
                  </a:lnTo>
                </a:path>
              </a:pathLst>
            </a:custGeom>
            <a:solidFill>
              <a:schemeClr val="accent3">
                <a:lumMod val="5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blackWhite">
            <a:xfrm>
              <a:off x="4867275" y="4592638"/>
              <a:ext cx="1806575" cy="1716087"/>
            </a:xfrm>
            <a:custGeom>
              <a:avLst/>
              <a:gdLst>
                <a:gd name="T0" fmla="*/ 0 w 1115"/>
                <a:gd name="T1" fmla="*/ 857233 h 1059"/>
                <a:gd name="T2" fmla="*/ 489786 w 1115"/>
                <a:gd name="T3" fmla="*/ 1714467 h 1059"/>
                <a:gd name="T4" fmla="*/ 489786 w 1115"/>
                <a:gd name="T5" fmla="*/ 1320690 h 1059"/>
                <a:gd name="T6" fmla="*/ 619693 w 1115"/>
                <a:gd name="T7" fmla="*/ 1309347 h 1059"/>
                <a:gd name="T8" fmla="*/ 753111 w 1115"/>
                <a:gd name="T9" fmla="*/ 1288280 h 1059"/>
                <a:gd name="T10" fmla="*/ 881263 w 1115"/>
                <a:gd name="T11" fmla="*/ 1259112 h 1059"/>
                <a:gd name="T12" fmla="*/ 1005904 w 1115"/>
                <a:gd name="T13" fmla="*/ 1221841 h 1059"/>
                <a:gd name="T14" fmla="*/ 1128789 w 1115"/>
                <a:gd name="T15" fmla="*/ 1176467 h 1059"/>
                <a:gd name="T16" fmla="*/ 1249919 w 1115"/>
                <a:gd name="T17" fmla="*/ 1122992 h 1059"/>
                <a:gd name="T18" fmla="*/ 1365782 w 1115"/>
                <a:gd name="T19" fmla="*/ 1061413 h 1059"/>
                <a:gd name="T20" fmla="*/ 1479890 w 1115"/>
                <a:gd name="T21" fmla="*/ 993353 h 1059"/>
                <a:gd name="T22" fmla="*/ 1581709 w 1115"/>
                <a:gd name="T23" fmla="*/ 913950 h 1059"/>
                <a:gd name="T24" fmla="*/ 1687039 w 1115"/>
                <a:gd name="T25" fmla="*/ 831306 h 1059"/>
                <a:gd name="T26" fmla="*/ 1781836 w 1115"/>
                <a:gd name="T27" fmla="*/ 738938 h 1059"/>
                <a:gd name="T28" fmla="*/ 1874878 w 1115"/>
                <a:gd name="T29" fmla="*/ 640089 h 1059"/>
                <a:gd name="T30" fmla="*/ 1955631 w 1115"/>
                <a:gd name="T31" fmla="*/ 539619 h 1059"/>
                <a:gd name="T32" fmla="*/ 1362271 w 1115"/>
                <a:gd name="T33" fmla="*/ 570408 h 1059"/>
                <a:gd name="T34" fmla="*/ 1093679 w 1115"/>
                <a:gd name="T35" fmla="*/ 58337 h 1059"/>
                <a:gd name="T36" fmla="*/ 1037503 w 1115"/>
                <a:gd name="T37" fmla="*/ 111813 h 1059"/>
                <a:gd name="T38" fmla="*/ 977816 w 1115"/>
                <a:gd name="T39" fmla="*/ 158807 h 1059"/>
                <a:gd name="T40" fmla="*/ 905840 w 1115"/>
                <a:gd name="T41" fmla="*/ 207421 h 1059"/>
                <a:gd name="T42" fmla="*/ 828598 w 1115"/>
                <a:gd name="T43" fmla="*/ 254415 h 1059"/>
                <a:gd name="T44" fmla="*/ 746089 w 1115"/>
                <a:gd name="T45" fmla="*/ 288445 h 1059"/>
                <a:gd name="T46" fmla="*/ 665336 w 1115"/>
                <a:gd name="T47" fmla="*/ 319234 h 1059"/>
                <a:gd name="T48" fmla="*/ 579316 w 1115"/>
                <a:gd name="T49" fmla="*/ 341921 h 1059"/>
                <a:gd name="T50" fmla="*/ 489786 w 1115"/>
                <a:gd name="T51" fmla="*/ 356505 h 1059"/>
                <a:gd name="T52" fmla="*/ 489786 w 1115"/>
                <a:gd name="T53" fmla="*/ 0 h 1059"/>
                <a:gd name="T54" fmla="*/ 0 w 1115"/>
                <a:gd name="T55" fmla="*/ 857233 h 1059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115"/>
                <a:gd name="T85" fmla="*/ 0 h 1059"/>
                <a:gd name="T86" fmla="*/ 1115 w 1115"/>
                <a:gd name="T87" fmla="*/ 1059 h 1059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115" h="1059">
                  <a:moveTo>
                    <a:pt x="0" y="529"/>
                  </a:moveTo>
                  <a:lnTo>
                    <a:pt x="279" y="1058"/>
                  </a:lnTo>
                  <a:lnTo>
                    <a:pt x="279" y="815"/>
                  </a:lnTo>
                  <a:lnTo>
                    <a:pt x="353" y="808"/>
                  </a:lnTo>
                  <a:lnTo>
                    <a:pt x="429" y="795"/>
                  </a:lnTo>
                  <a:lnTo>
                    <a:pt x="502" y="777"/>
                  </a:lnTo>
                  <a:lnTo>
                    <a:pt x="573" y="754"/>
                  </a:lnTo>
                  <a:lnTo>
                    <a:pt x="643" y="726"/>
                  </a:lnTo>
                  <a:lnTo>
                    <a:pt x="712" y="693"/>
                  </a:lnTo>
                  <a:lnTo>
                    <a:pt x="778" y="655"/>
                  </a:lnTo>
                  <a:lnTo>
                    <a:pt x="843" y="613"/>
                  </a:lnTo>
                  <a:lnTo>
                    <a:pt x="901" y="564"/>
                  </a:lnTo>
                  <a:lnTo>
                    <a:pt x="961" y="513"/>
                  </a:lnTo>
                  <a:lnTo>
                    <a:pt x="1015" y="456"/>
                  </a:lnTo>
                  <a:lnTo>
                    <a:pt x="1068" y="395"/>
                  </a:lnTo>
                  <a:lnTo>
                    <a:pt x="1114" y="333"/>
                  </a:lnTo>
                  <a:lnTo>
                    <a:pt x="776" y="352"/>
                  </a:lnTo>
                  <a:lnTo>
                    <a:pt x="623" y="36"/>
                  </a:lnTo>
                  <a:lnTo>
                    <a:pt x="591" y="69"/>
                  </a:lnTo>
                  <a:lnTo>
                    <a:pt x="557" y="98"/>
                  </a:lnTo>
                  <a:lnTo>
                    <a:pt x="516" y="128"/>
                  </a:lnTo>
                  <a:lnTo>
                    <a:pt x="472" y="157"/>
                  </a:lnTo>
                  <a:lnTo>
                    <a:pt x="425" y="178"/>
                  </a:lnTo>
                  <a:lnTo>
                    <a:pt x="379" y="197"/>
                  </a:lnTo>
                  <a:lnTo>
                    <a:pt x="330" y="211"/>
                  </a:lnTo>
                  <a:lnTo>
                    <a:pt x="279" y="220"/>
                  </a:lnTo>
                  <a:lnTo>
                    <a:pt x="279" y="0"/>
                  </a:lnTo>
                  <a:lnTo>
                    <a:pt x="0" y="529"/>
                  </a:lnTo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blackWhite">
            <a:xfrm>
              <a:off x="3294063" y="4378325"/>
              <a:ext cx="1719262" cy="1531938"/>
            </a:xfrm>
            <a:custGeom>
              <a:avLst/>
              <a:gdLst>
                <a:gd name="T0" fmla="*/ 2147483647 w 1061"/>
                <a:gd name="T1" fmla="*/ 0 h 946"/>
                <a:gd name="T2" fmla="*/ 0 w 1061"/>
                <a:gd name="T3" fmla="*/ 2147483647 h 946"/>
                <a:gd name="T4" fmla="*/ 2147483647 w 1061"/>
                <a:gd name="T5" fmla="*/ 2147483647 h 946"/>
                <a:gd name="T6" fmla="*/ 2147483647 w 1061"/>
                <a:gd name="T7" fmla="*/ 2147483647 h 946"/>
                <a:gd name="T8" fmla="*/ 2147483647 w 1061"/>
                <a:gd name="T9" fmla="*/ 2147483647 h 946"/>
                <a:gd name="T10" fmla="*/ 2147483647 w 1061"/>
                <a:gd name="T11" fmla="*/ 2147483647 h 946"/>
                <a:gd name="T12" fmla="*/ 2147483647 w 1061"/>
                <a:gd name="T13" fmla="*/ 2147483647 h 946"/>
                <a:gd name="T14" fmla="*/ 2147483647 w 1061"/>
                <a:gd name="T15" fmla="*/ 2147483647 h 946"/>
                <a:gd name="T16" fmla="*/ 2147483647 w 1061"/>
                <a:gd name="T17" fmla="*/ 2147483647 h 946"/>
                <a:gd name="T18" fmla="*/ 2147483647 w 1061"/>
                <a:gd name="T19" fmla="*/ 2147483647 h 946"/>
                <a:gd name="T20" fmla="*/ 2147483647 w 1061"/>
                <a:gd name="T21" fmla="*/ 2147483647 h 946"/>
                <a:gd name="T22" fmla="*/ 2147483647 w 1061"/>
                <a:gd name="T23" fmla="*/ 2147483647 h 946"/>
                <a:gd name="T24" fmla="*/ 2147483647 w 1061"/>
                <a:gd name="T25" fmla="*/ 2147483647 h 946"/>
                <a:gd name="T26" fmla="*/ 2147483647 w 1061"/>
                <a:gd name="T27" fmla="*/ 2147483647 h 946"/>
                <a:gd name="T28" fmla="*/ 2147483647 w 1061"/>
                <a:gd name="T29" fmla="*/ 2147483647 h 946"/>
                <a:gd name="T30" fmla="*/ 2147483647 w 1061"/>
                <a:gd name="T31" fmla="*/ 2147483647 h 946"/>
                <a:gd name="T32" fmla="*/ 2147483647 w 1061"/>
                <a:gd name="T33" fmla="*/ 2147483647 h 946"/>
                <a:gd name="T34" fmla="*/ 2147483647 w 1061"/>
                <a:gd name="T35" fmla="*/ 2147483647 h 946"/>
                <a:gd name="T36" fmla="*/ 2147483647 w 1061"/>
                <a:gd name="T37" fmla="*/ 2147483647 h 946"/>
                <a:gd name="T38" fmla="*/ 2147483647 w 1061"/>
                <a:gd name="T39" fmla="*/ 2147483647 h 946"/>
                <a:gd name="T40" fmla="*/ 2147483647 w 1061"/>
                <a:gd name="T41" fmla="*/ 2147483647 h 946"/>
                <a:gd name="T42" fmla="*/ 2147483647 w 1061"/>
                <a:gd name="T43" fmla="*/ 2147483647 h 946"/>
                <a:gd name="T44" fmla="*/ 2147483647 w 1061"/>
                <a:gd name="T45" fmla="*/ 2147483647 h 946"/>
                <a:gd name="T46" fmla="*/ 2147483647 w 1061"/>
                <a:gd name="T47" fmla="*/ 2147483647 h 946"/>
                <a:gd name="T48" fmla="*/ 2147483647 w 1061"/>
                <a:gd name="T49" fmla="*/ 2147483647 h 946"/>
                <a:gd name="T50" fmla="*/ 2147483647 w 1061"/>
                <a:gd name="T51" fmla="*/ 0 h 94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061"/>
                <a:gd name="T79" fmla="*/ 0 h 946"/>
                <a:gd name="T80" fmla="*/ 1061 w 1061"/>
                <a:gd name="T81" fmla="*/ 946 h 94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061" h="946">
                  <a:moveTo>
                    <a:pt x="372" y="0"/>
                  </a:moveTo>
                  <a:lnTo>
                    <a:pt x="0" y="477"/>
                  </a:lnTo>
                  <a:lnTo>
                    <a:pt x="207" y="395"/>
                  </a:lnTo>
                  <a:lnTo>
                    <a:pt x="252" y="466"/>
                  </a:lnTo>
                  <a:lnTo>
                    <a:pt x="302" y="531"/>
                  </a:lnTo>
                  <a:lnTo>
                    <a:pt x="354" y="592"/>
                  </a:lnTo>
                  <a:lnTo>
                    <a:pt x="410" y="649"/>
                  </a:lnTo>
                  <a:lnTo>
                    <a:pt x="471" y="703"/>
                  </a:lnTo>
                  <a:lnTo>
                    <a:pt x="535" y="751"/>
                  </a:lnTo>
                  <a:lnTo>
                    <a:pt x="602" y="795"/>
                  </a:lnTo>
                  <a:lnTo>
                    <a:pt x="670" y="833"/>
                  </a:lnTo>
                  <a:lnTo>
                    <a:pt x="745" y="867"/>
                  </a:lnTo>
                  <a:lnTo>
                    <a:pt x="818" y="894"/>
                  </a:lnTo>
                  <a:lnTo>
                    <a:pt x="894" y="917"/>
                  </a:lnTo>
                  <a:lnTo>
                    <a:pt x="970" y="934"/>
                  </a:lnTo>
                  <a:lnTo>
                    <a:pt x="1048" y="945"/>
                  </a:lnTo>
                  <a:lnTo>
                    <a:pt x="896" y="669"/>
                  </a:lnTo>
                  <a:lnTo>
                    <a:pt x="1060" y="347"/>
                  </a:lnTo>
                  <a:lnTo>
                    <a:pt x="1004" y="334"/>
                  </a:lnTo>
                  <a:lnTo>
                    <a:pt x="951" y="315"/>
                  </a:lnTo>
                  <a:lnTo>
                    <a:pt x="898" y="290"/>
                  </a:lnTo>
                  <a:lnTo>
                    <a:pt x="850" y="260"/>
                  </a:lnTo>
                  <a:lnTo>
                    <a:pt x="802" y="223"/>
                  </a:lnTo>
                  <a:lnTo>
                    <a:pt x="761" y="184"/>
                  </a:lnTo>
                  <a:lnTo>
                    <a:pt x="938" y="113"/>
                  </a:lnTo>
                  <a:lnTo>
                    <a:pt x="372" y="0"/>
                  </a:lnTo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Freeform 39"/>
            <p:cNvSpPr>
              <a:spLocks/>
            </p:cNvSpPr>
            <p:nvPr/>
          </p:nvSpPr>
          <p:spPr bwMode="blackWhite">
            <a:xfrm>
              <a:off x="3134390" y="3065463"/>
              <a:ext cx="1531273" cy="1709737"/>
            </a:xfrm>
            <a:custGeom>
              <a:avLst/>
              <a:gdLst>
                <a:gd name="T0" fmla="*/ 2147483647 w 866"/>
                <a:gd name="T1" fmla="*/ 0 h 1055"/>
                <a:gd name="T2" fmla="*/ 0 w 866"/>
                <a:gd name="T3" fmla="*/ 2147483647 h 1055"/>
                <a:gd name="T4" fmla="*/ 2147483647 w 866"/>
                <a:gd name="T5" fmla="*/ 2147483647 h 1055"/>
                <a:gd name="T6" fmla="*/ 2147483647 w 866"/>
                <a:gd name="T7" fmla="*/ 2147483647 h 1055"/>
                <a:gd name="T8" fmla="*/ 2147483647 w 866"/>
                <a:gd name="T9" fmla="*/ 2147483647 h 1055"/>
                <a:gd name="T10" fmla="*/ 2147483647 w 866"/>
                <a:gd name="T11" fmla="*/ 2147483647 h 1055"/>
                <a:gd name="T12" fmla="*/ 2147483647 w 866"/>
                <a:gd name="T13" fmla="*/ 2147483647 h 1055"/>
                <a:gd name="T14" fmla="*/ 2147483647 w 866"/>
                <a:gd name="T15" fmla="*/ 2147483647 h 1055"/>
                <a:gd name="T16" fmla="*/ 2147483647 w 866"/>
                <a:gd name="T17" fmla="*/ 2147483647 h 1055"/>
                <a:gd name="T18" fmla="*/ 2147483647 w 866"/>
                <a:gd name="T19" fmla="*/ 2147483647 h 1055"/>
                <a:gd name="T20" fmla="*/ 2147483647 w 866"/>
                <a:gd name="T21" fmla="*/ 2147483647 h 1055"/>
                <a:gd name="T22" fmla="*/ 2147483647 w 866"/>
                <a:gd name="T23" fmla="*/ 2147483647 h 1055"/>
                <a:gd name="T24" fmla="*/ 2147483647 w 866"/>
                <a:gd name="T25" fmla="*/ 2147483647 h 1055"/>
                <a:gd name="T26" fmla="*/ 2147483647 w 866"/>
                <a:gd name="T27" fmla="*/ 2147483647 h 1055"/>
                <a:gd name="T28" fmla="*/ 2147483647 w 866"/>
                <a:gd name="T29" fmla="*/ 2147483647 h 1055"/>
                <a:gd name="T30" fmla="*/ 2147483647 w 866"/>
                <a:gd name="T31" fmla="*/ 2147483647 h 1055"/>
                <a:gd name="T32" fmla="*/ 2147483647 w 866"/>
                <a:gd name="T33" fmla="*/ 2147483647 h 1055"/>
                <a:gd name="T34" fmla="*/ 2147483647 w 866"/>
                <a:gd name="T35" fmla="*/ 2147483647 h 1055"/>
                <a:gd name="T36" fmla="*/ 2147483647 w 866"/>
                <a:gd name="T37" fmla="*/ 2147483647 h 1055"/>
                <a:gd name="T38" fmla="*/ 2147483647 w 866"/>
                <a:gd name="T39" fmla="*/ 2147483647 h 1055"/>
                <a:gd name="T40" fmla="*/ 2147483647 w 866"/>
                <a:gd name="T41" fmla="*/ 2147483647 h 1055"/>
                <a:gd name="T42" fmla="*/ 2147483647 w 866"/>
                <a:gd name="T43" fmla="*/ 2147483647 h 1055"/>
                <a:gd name="T44" fmla="*/ 2147483647 w 866"/>
                <a:gd name="T45" fmla="*/ 2147483647 h 1055"/>
                <a:gd name="T46" fmla="*/ 2147483647 w 866"/>
                <a:gd name="T47" fmla="*/ 2147483647 h 1055"/>
                <a:gd name="T48" fmla="*/ 2147483647 w 866"/>
                <a:gd name="T49" fmla="*/ 2147483647 h 1055"/>
                <a:gd name="T50" fmla="*/ 2147483647 w 866"/>
                <a:gd name="T51" fmla="*/ 0 h 1055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866"/>
                <a:gd name="T79" fmla="*/ 0 h 1055"/>
                <a:gd name="T80" fmla="*/ 866 w 866"/>
                <a:gd name="T81" fmla="*/ 1055 h 1055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866" h="1055">
                  <a:moveTo>
                    <a:pt x="571" y="0"/>
                  </a:moveTo>
                  <a:lnTo>
                    <a:pt x="0" y="1"/>
                  </a:lnTo>
                  <a:lnTo>
                    <a:pt x="178" y="111"/>
                  </a:lnTo>
                  <a:lnTo>
                    <a:pt x="153" y="187"/>
                  </a:lnTo>
                  <a:lnTo>
                    <a:pt x="130" y="264"/>
                  </a:lnTo>
                  <a:lnTo>
                    <a:pt x="113" y="343"/>
                  </a:lnTo>
                  <a:lnTo>
                    <a:pt x="100" y="423"/>
                  </a:lnTo>
                  <a:lnTo>
                    <a:pt x="94" y="504"/>
                  </a:lnTo>
                  <a:lnTo>
                    <a:pt x="93" y="583"/>
                  </a:lnTo>
                  <a:lnTo>
                    <a:pt x="95" y="664"/>
                  </a:lnTo>
                  <a:lnTo>
                    <a:pt x="104" y="744"/>
                  </a:lnTo>
                  <a:lnTo>
                    <a:pt x="118" y="824"/>
                  </a:lnTo>
                  <a:lnTo>
                    <a:pt x="136" y="903"/>
                  </a:lnTo>
                  <a:lnTo>
                    <a:pt x="159" y="979"/>
                  </a:lnTo>
                  <a:lnTo>
                    <a:pt x="189" y="1054"/>
                  </a:lnTo>
                  <a:lnTo>
                    <a:pt x="412" y="766"/>
                  </a:lnTo>
                  <a:lnTo>
                    <a:pt x="702" y="816"/>
                  </a:lnTo>
                  <a:lnTo>
                    <a:pt x="681" y="760"/>
                  </a:lnTo>
                  <a:lnTo>
                    <a:pt x="666" y="705"/>
                  </a:lnTo>
                  <a:lnTo>
                    <a:pt x="658" y="647"/>
                  </a:lnTo>
                  <a:lnTo>
                    <a:pt x="652" y="588"/>
                  </a:lnTo>
                  <a:lnTo>
                    <a:pt x="652" y="529"/>
                  </a:lnTo>
                  <a:lnTo>
                    <a:pt x="660" y="470"/>
                  </a:lnTo>
                  <a:lnTo>
                    <a:pt x="672" y="413"/>
                  </a:lnTo>
                  <a:lnTo>
                    <a:pt x="865" y="531"/>
                  </a:lnTo>
                  <a:lnTo>
                    <a:pt x="571" y="0"/>
                  </a:lnTo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" name="Rectangle 40"/>
            <p:cNvSpPr>
              <a:spLocks noChangeArrowheads="1"/>
            </p:cNvSpPr>
            <p:nvPr/>
          </p:nvSpPr>
          <p:spPr bwMode="blackWhite">
            <a:xfrm>
              <a:off x="2898547" y="2538471"/>
              <a:ext cx="1413336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marL="0" marR="0" lvl="0" indent="0" algn="ctr" defTabSz="787400" rtl="0" eaLnBrk="1" fontAlgn="auto" latinLnBrk="0" hangingPunct="1">
                <a:lnSpc>
                  <a:spcPct val="95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3E3838"/>
                </a:buClr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ext. White. 14PT</a:t>
              </a:r>
            </a:p>
          </p:txBody>
        </p:sp>
        <p:sp>
          <p:nvSpPr>
            <p:cNvPr id="42" name="Rectangle 41"/>
            <p:cNvSpPr>
              <a:spLocks noChangeArrowheads="1"/>
            </p:cNvSpPr>
            <p:nvPr/>
          </p:nvSpPr>
          <p:spPr bwMode="blackWhite">
            <a:xfrm>
              <a:off x="5890738" y="2805171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marL="0" marR="0" lvl="0" indent="0" algn="ctr" defTabSz="787400" rtl="0" eaLnBrk="1" fontAlgn="auto" latinLnBrk="0" hangingPunct="1">
                <a:lnSpc>
                  <a:spcPct val="95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3E3838"/>
                </a:buClr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43" name="Rectangle 42"/>
            <p:cNvSpPr>
              <a:spLocks noChangeArrowheads="1"/>
            </p:cNvSpPr>
            <p:nvPr/>
          </p:nvSpPr>
          <p:spPr bwMode="blackWhite">
            <a:xfrm>
              <a:off x="6370162" y="4146609"/>
              <a:ext cx="327975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marL="0" marR="0" lvl="0" indent="0" algn="ctr" defTabSz="787400" rtl="0" eaLnBrk="1" fontAlgn="auto" latinLnBrk="0" hangingPunct="1">
                <a:lnSpc>
                  <a:spcPct val="95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3E3838"/>
                </a:buClr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44" name="Rectangle 43"/>
            <p:cNvSpPr>
              <a:spLocks noChangeArrowheads="1"/>
            </p:cNvSpPr>
            <p:nvPr/>
          </p:nvSpPr>
          <p:spPr bwMode="blackWhite">
            <a:xfrm>
              <a:off x="5501800" y="5259446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marL="0" marR="0" lvl="0" indent="0" algn="ctr" defTabSz="787400" rtl="0" eaLnBrk="1" fontAlgn="auto" latinLnBrk="0" hangingPunct="1">
                <a:lnSpc>
                  <a:spcPct val="95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3E3838"/>
                </a:buClr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45" name="Rectangle 44"/>
            <p:cNvSpPr>
              <a:spLocks noChangeArrowheads="1"/>
            </p:cNvSpPr>
            <p:nvPr/>
          </p:nvSpPr>
          <p:spPr bwMode="blackWhite">
            <a:xfrm>
              <a:off x="4166713" y="4962584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marL="0" marR="0" lvl="0" indent="0" algn="ctr" defTabSz="787400" rtl="0" eaLnBrk="1" fontAlgn="auto" latinLnBrk="0" hangingPunct="1">
                <a:lnSpc>
                  <a:spcPct val="95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3E3838"/>
                </a:buClr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46" name="Rectangle 45"/>
            <p:cNvSpPr>
              <a:spLocks noChangeArrowheads="1"/>
            </p:cNvSpPr>
            <p:nvPr/>
          </p:nvSpPr>
          <p:spPr bwMode="blackWhite">
            <a:xfrm>
              <a:off x="3627624" y="3692584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marL="0" marR="0" lvl="0" indent="0" algn="ctr" defTabSz="787400" rtl="0" eaLnBrk="1" fontAlgn="auto" latinLnBrk="0" hangingPunct="1">
                <a:lnSpc>
                  <a:spcPct val="95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3E3838"/>
                </a:buClr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ext</a:t>
              </a:r>
            </a:p>
          </p:txBody>
        </p:sp>
      </p:grpSp>
      <p:sp>
        <p:nvSpPr>
          <p:cNvPr id="47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8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4A821D7-FED0-48B8-AFE5-3A57F0E24FED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Sunday, October 19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5116786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Slide designed to be used when you only have a small intro paragraph and bullet points. 18PT</a:t>
            </a:r>
          </a:p>
        </p:txBody>
      </p:sp>
      <p:sp>
        <p:nvSpPr>
          <p:cNvPr id="55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5116786" cy="364692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607537771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. Strategy Slide - Process Closed Loop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93C38AE4-B279-4EB8-8554-69F24D6448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93C38AE4-B279-4EB8-8554-69F24D6448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12AB5A7A-288E-4B8B-945D-D3095B3373F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7061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PROCESS CLOSED LOOP WITH LARGE TEXT</a:t>
            </a:r>
          </a:p>
        </p:txBody>
      </p:sp>
      <p:sp>
        <p:nvSpPr>
          <p:cNvPr id="47" name="Arc 3"/>
          <p:cNvSpPr>
            <a:spLocks/>
          </p:cNvSpPr>
          <p:nvPr userDrawn="1"/>
        </p:nvSpPr>
        <p:spPr bwMode="auto">
          <a:xfrm>
            <a:off x="8555775" y="1924512"/>
            <a:ext cx="2043112" cy="1801812"/>
          </a:xfrm>
          <a:custGeom>
            <a:avLst/>
            <a:gdLst>
              <a:gd name="T0" fmla="*/ 0 w 19173"/>
              <a:gd name="T1" fmla="*/ 0 h 21600"/>
              <a:gd name="T2" fmla="*/ 2147483647 w 19173"/>
              <a:gd name="T3" fmla="*/ 2147483647 h 21600"/>
              <a:gd name="T4" fmla="*/ 0 w 19173"/>
              <a:gd name="T5" fmla="*/ 2147483647 h 21600"/>
              <a:gd name="T6" fmla="*/ 0 60000 65536"/>
              <a:gd name="T7" fmla="*/ 0 60000 65536"/>
              <a:gd name="T8" fmla="*/ 0 60000 65536"/>
              <a:gd name="T9" fmla="*/ 0 w 19173"/>
              <a:gd name="T10" fmla="*/ 0 h 21600"/>
              <a:gd name="T11" fmla="*/ 19173 w 19173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9173" h="21600" fill="none" extrusionOk="0">
                <a:moveTo>
                  <a:pt x="-1" y="0"/>
                </a:moveTo>
                <a:cubicBezTo>
                  <a:pt x="8064" y="0"/>
                  <a:pt x="15457" y="4492"/>
                  <a:pt x="19172" y="11651"/>
                </a:cubicBezTo>
              </a:path>
              <a:path w="19173" h="21600" stroke="0" extrusionOk="0">
                <a:moveTo>
                  <a:pt x="-1" y="0"/>
                </a:moveTo>
                <a:cubicBezTo>
                  <a:pt x="8064" y="0"/>
                  <a:pt x="15457" y="4492"/>
                  <a:pt x="19172" y="11651"/>
                </a:cubicBezTo>
                <a:lnTo>
                  <a:pt x="0" y="21600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/>
            <a:tailEnd type="triangle" w="med" len="med"/>
          </a:ln>
        </p:spPr>
        <p:txBody>
          <a:bodyPr wrap="none" lIns="36000" tIns="36000" rIns="36000" bIns="36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8" name="Arc 4"/>
          <p:cNvSpPr>
            <a:spLocks/>
          </p:cNvSpPr>
          <p:nvPr userDrawn="1"/>
        </p:nvSpPr>
        <p:spPr bwMode="auto">
          <a:xfrm flipV="1">
            <a:off x="8555775" y="3803958"/>
            <a:ext cx="2301875" cy="969963"/>
          </a:xfrm>
          <a:custGeom>
            <a:avLst/>
            <a:gdLst>
              <a:gd name="T0" fmla="*/ 2147483647 w 21600"/>
              <a:gd name="T1" fmla="*/ 0 h 11619"/>
              <a:gd name="T2" fmla="*/ 2147483647 w 21600"/>
              <a:gd name="T3" fmla="*/ 2147483647 h 11619"/>
              <a:gd name="T4" fmla="*/ 0 w 21600"/>
              <a:gd name="T5" fmla="*/ 2147483647 h 11619"/>
              <a:gd name="T6" fmla="*/ 0 60000 65536"/>
              <a:gd name="T7" fmla="*/ 0 60000 65536"/>
              <a:gd name="T8" fmla="*/ 0 60000 65536"/>
              <a:gd name="T9" fmla="*/ 0 w 21600"/>
              <a:gd name="T10" fmla="*/ 0 h 11619"/>
              <a:gd name="T11" fmla="*/ 21600 w 21600"/>
              <a:gd name="T12" fmla="*/ 11619 h 11619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11619" fill="none" extrusionOk="0">
                <a:moveTo>
                  <a:pt x="18208" y="0"/>
                </a:moveTo>
                <a:cubicBezTo>
                  <a:pt x="20423" y="3470"/>
                  <a:pt x="21600" y="7501"/>
                  <a:pt x="21600" y="11619"/>
                </a:cubicBezTo>
              </a:path>
              <a:path w="21600" h="11619" stroke="0" extrusionOk="0">
                <a:moveTo>
                  <a:pt x="18208" y="0"/>
                </a:moveTo>
                <a:cubicBezTo>
                  <a:pt x="20423" y="3470"/>
                  <a:pt x="21600" y="7501"/>
                  <a:pt x="21600" y="11619"/>
                </a:cubicBezTo>
                <a:lnTo>
                  <a:pt x="0" y="11619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rot="10800000" wrap="none" lIns="36000" tIns="36000" rIns="36000" bIns="36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9" name="Arc 5"/>
          <p:cNvSpPr>
            <a:spLocks/>
          </p:cNvSpPr>
          <p:nvPr userDrawn="1"/>
        </p:nvSpPr>
        <p:spPr bwMode="auto">
          <a:xfrm rot="183362" flipV="1">
            <a:off x="8250238" y="3884613"/>
            <a:ext cx="1851025" cy="1801813"/>
          </a:xfrm>
          <a:custGeom>
            <a:avLst/>
            <a:gdLst>
              <a:gd name="T0" fmla="*/ 0 w 17368"/>
              <a:gd name="T1" fmla="*/ 2147483647 h 21600"/>
              <a:gd name="T2" fmla="*/ 2147483647 w 17368"/>
              <a:gd name="T3" fmla="*/ 2147483647 h 21600"/>
              <a:gd name="T4" fmla="*/ 2147483647 w 17368"/>
              <a:gd name="T5" fmla="*/ 2147483647 h 21600"/>
              <a:gd name="T6" fmla="*/ 0 60000 65536"/>
              <a:gd name="T7" fmla="*/ 0 60000 65536"/>
              <a:gd name="T8" fmla="*/ 0 60000 65536"/>
              <a:gd name="T9" fmla="*/ 0 w 17368"/>
              <a:gd name="T10" fmla="*/ 0 h 21600"/>
              <a:gd name="T11" fmla="*/ 17368 w 17368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7368" h="21600" fill="none" extrusionOk="0">
                <a:moveTo>
                  <a:pt x="0" y="189"/>
                </a:moveTo>
                <a:cubicBezTo>
                  <a:pt x="945" y="63"/>
                  <a:pt x="1898" y="-1"/>
                  <a:pt x="2852" y="0"/>
                </a:cubicBezTo>
                <a:cubicBezTo>
                  <a:pt x="8218" y="0"/>
                  <a:pt x="13393" y="1998"/>
                  <a:pt x="17368" y="5604"/>
                </a:cubicBezTo>
              </a:path>
              <a:path w="17368" h="21600" stroke="0" extrusionOk="0">
                <a:moveTo>
                  <a:pt x="0" y="189"/>
                </a:moveTo>
                <a:cubicBezTo>
                  <a:pt x="945" y="63"/>
                  <a:pt x="1898" y="-1"/>
                  <a:pt x="2852" y="0"/>
                </a:cubicBezTo>
                <a:cubicBezTo>
                  <a:pt x="8218" y="0"/>
                  <a:pt x="13393" y="1998"/>
                  <a:pt x="17368" y="5604"/>
                </a:cubicBezTo>
                <a:lnTo>
                  <a:pt x="2852" y="21600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rot="10800000" wrap="none" lIns="36000" tIns="36000" rIns="36000" bIns="36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4" name="Arc 6"/>
          <p:cNvSpPr>
            <a:spLocks/>
          </p:cNvSpPr>
          <p:nvPr userDrawn="1"/>
        </p:nvSpPr>
        <p:spPr bwMode="auto">
          <a:xfrm flipH="1" flipV="1">
            <a:off x="6312637" y="3726324"/>
            <a:ext cx="2244725" cy="1592263"/>
          </a:xfrm>
          <a:custGeom>
            <a:avLst/>
            <a:gdLst>
              <a:gd name="T0" fmla="*/ 2147483647 w 21027"/>
              <a:gd name="T1" fmla="*/ 0 h 19082"/>
              <a:gd name="T2" fmla="*/ 2147483647 w 21027"/>
              <a:gd name="T3" fmla="*/ 2147483647 h 19082"/>
              <a:gd name="T4" fmla="*/ 0 w 21027"/>
              <a:gd name="T5" fmla="*/ 2147483647 h 19082"/>
              <a:gd name="T6" fmla="*/ 0 60000 65536"/>
              <a:gd name="T7" fmla="*/ 0 60000 65536"/>
              <a:gd name="T8" fmla="*/ 0 60000 65536"/>
              <a:gd name="T9" fmla="*/ 0 w 21027"/>
              <a:gd name="T10" fmla="*/ 0 h 19082"/>
              <a:gd name="T11" fmla="*/ 21027 w 21027"/>
              <a:gd name="T12" fmla="*/ 19082 h 1908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027" h="19082" fill="none" extrusionOk="0">
                <a:moveTo>
                  <a:pt x="10121" y="0"/>
                </a:moveTo>
                <a:cubicBezTo>
                  <a:pt x="15625" y="2919"/>
                  <a:pt x="19601" y="8073"/>
                  <a:pt x="21026" y="14139"/>
                </a:cubicBezTo>
              </a:path>
              <a:path w="21027" h="19082" stroke="0" extrusionOk="0">
                <a:moveTo>
                  <a:pt x="10121" y="0"/>
                </a:moveTo>
                <a:cubicBezTo>
                  <a:pt x="15625" y="2919"/>
                  <a:pt x="19601" y="8073"/>
                  <a:pt x="21026" y="14139"/>
                </a:cubicBezTo>
                <a:lnTo>
                  <a:pt x="0" y="19082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/>
            <a:tailEnd type="triangle" w="med" len="med"/>
          </a:ln>
        </p:spPr>
        <p:txBody>
          <a:bodyPr rot="10800000" wrap="none" lIns="36000" tIns="36000" rIns="36000" bIns="36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5" name="Arc 7"/>
          <p:cNvSpPr>
            <a:spLocks/>
          </p:cNvSpPr>
          <p:nvPr userDrawn="1"/>
        </p:nvSpPr>
        <p:spPr bwMode="auto">
          <a:xfrm flipH="1">
            <a:off x="6279300" y="2067387"/>
            <a:ext cx="2278062" cy="1658937"/>
          </a:xfrm>
          <a:custGeom>
            <a:avLst/>
            <a:gdLst>
              <a:gd name="T0" fmla="*/ 2147483647 w 21347"/>
              <a:gd name="T1" fmla="*/ 0 h 19905"/>
              <a:gd name="T2" fmla="*/ 2147483647 w 21347"/>
              <a:gd name="T3" fmla="*/ 2147483647 h 19905"/>
              <a:gd name="T4" fmla="*/ 0 w 21347"/>
              <a:gd name="T5" fmla="*/ 2147483647 h 19905"/>
              <a:gd name="T6" fmla="*/ 0 60000 65536"/>
              <a:gd name="T7" fmla="*/ 0 60000 65536"/>
              <a:gd name="T8" fmla="*/ 0 60000 65536"/>
              <a:gd name="T9" fmla="*/ 0 w 21347"/>
              <a:gd name="T10" fmla="*/ 0 h 19905"/>
              <a:gd name="T11" fmla="*/ 21347 w 21347"/>
              <a:gd name="T12" fmla="*/ 19905 h 1990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347" h="19905" fill="none" extrusionOk="0">
                <a:moveTo>
                  <a:pt x="8386" y="-1"/>
                </a:moveTo>
                <a:cubicBezTo>
                  <a:pt x="15295" y="2910"/>
                  <a:pt x="20201" y="9196"/>
                  <a:pt x="21346" y="16606"/>
                </a:cubicBezTo>
              </a:path>
              <a:path w="21347" h="19905" stroke="0" extrusionOk="0">
                <a:moveTo>
                  <a:pt x="8386" y="-1"/>
                </a:moveTo>
                <a:cubicBezTo>
                  <a:pt x="15295" y="2910"/>
                  <a:pt x="20201" y="9196"/>
                  <a:pt x="21346" y="16606"/>
                </a:cubicBezTo>
                <a:lnTo>
                  <a:pt x="0" y="19905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wrap="none" lIns="36000" tIns="36000" rIns="36000" bIns="36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5" name="Oval 8"/>
          <p:cNvSpPr>
            <a:spLocks noChangeArrowheads="1"/>
          </p:cNvSpPr>
          <p:nvPr userDrawn="1"/>
        </p:nvSpPr>
        <p:spPr bwMode="auto">
          <a:xfrm>
            <a:off x="9048888" y="4635962"/>
            <a:ext cx="1743075" cy="1238250"/>
          </a:xfrm>
          <a:prstGeom prst="ellipse">
            <a:avLst/>
          </a:prstGeom>
          <a:solidFill>
            <a:schemeClr val="accent3"/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ＭＳ Ｐゴシック" pitchFamily="50" charset="-128"/>
                <a:cs typeface="+mn-cs"/>
              </a:rPr>
              <a:t>Text. White. 12PT</a:t>
            </a:r>
          </a:p>
        </p:txBody>
      </p:sp>
      <p:sp>
        <p:nvSpPr>
          <p:cNvPr id="76" name="Oval 9"/>
          <p:cNvSpPr>
            <a:spLocks noChangeArrowheads="1"/>
          </p:cNvSpPr>
          <p:nvPr userDrawn="1"/>
        </p:nvSpPr>
        <p:spPr bwMode="auto">
          <a:xfrm>
            <a:off x="5612550" y="2894474"/>
            <a:ext cx="1738312" cy="1235075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ＭＳ Ｐゴシック" pitchFamily="50" charset="-128"/>
                <a:cs typeface="+mn-cs"/>
              </a:rPr>
              <a:t>Text. White. 12PT</a:t>
            </a:r>
          </a:p>
        </p:txBody>
      </p:sp>
      <p:sp>
        <p:nvSpPr>
          <p:cNvPr id="77" name="Oval 10"/>
          <p:cNvSpPr>
            <a:spLocks noChangeArrowheads="1"/>
          </p:cNvSpPr>
          <p:nvPr userDrawn="1"/>
        </p:nvSpPr>
        <p:spPr bwMode="auto">
          <a:xfrm>
            <a:off x="6571400" y="4635962"/>
            <a:ext cx="1738312" cy="123825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ＭＳ Ｐゴシック" pitchFamily="50" charset="-128"/>
                <a:cs typeface="+mn-cs"/>
              </a:rPr>
              <a:t>Text. White. 12PT</a:t>
            </a:r>
          </a:p>
        </p:txBody>
      </p:sp>
      <p:sp>
        <p:nvSpPr>
          <p:cNvPr id="78" name="Oval 11"/>
          <p:cNvSpPr>
            <a:spLocks noChangeArrowheads="1"/>
          </p:cNvSpPr>
          <p:nvPr userDrawn="1"/>
        </p:nvSpPr>
        <p:spPr bwMode="auto">
          <a:xfrm>
            <a:off x="9835300" y="2894474"/>
            <a:ext cx="1744662" cy="1235075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ＭＳ Ｐゴシック" pitchFamily="50" charset="-128"/>
                <a:cs typeface="+mn-cs"/>
              </a:rPr>
              <a:t>Text. White. 12PT</a:t>
            </a:r>
          </a:p>
        </p:txBody>
      </p:sp>
      <p:sp>
        <p:nvSpPr>
          <p:cNvPr id="79" name="Oval 12"/>
          <p:cNvSpPr>
            <a:spLocks noChangeArrowheads="1"/>
          </p:cNvSpPr>
          <p:nvPr userDrawn="1"/>
        </p:nvSpPr>
        <p:spPr bwMode="auto">
          <a:xfrm>
            <a:off x="7684237" y="1438737"/>
            <a:ext cx="1739900" cy="11890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ＭＳ Ｐゴシック" pitchFamily="50" charset="-128"/>
                <a:cs typeface="+mn-cs"/>
              </a:rPr>
              <a:t>Text. White. 12PT</a:t>
            </a:r>
          </a:p>
        </p:txBody>
      </p:sp>
      <p:sp>
        <p:nvSpPr>
          <p:cNvPr id="80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1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2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569169-6252-4223-9C44-F0DB84BC380C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Sunday, October 19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5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799" y="1698045"/>
            <a:ext cx="4727325" cy="390592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s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6578806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. Strategy Slide - Direct Reports Or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255AF908-E693-430C-A758-3A9795ECD2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255AF908-E693-430C-A758-3A9795ECD2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E8F4DA4E-B32C-4478-A3ED-55FDD4938AF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0248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DIRECT REPORTS ORG CHART.</a:t>
            </a:r>
          </a:p>
        </p:txBody>
      </p:sp>
      <p:sp>
        <p:nvSpPr>
          <p:cNvPr id="125" name="Rectangle 124"/>
          <p:cNvSpPr/>
          <p:nvPr/>
        </p:nvSpPr>
        <p:spPr>
          <a:xfrm>
            <a:off x="5428481" y="1565718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81" name="Straight Connector 80"/>
          <p:cNvCxnSpPr/>
          <p:nvPr/>
        </p:nvCxnSpPr>
        <p:spPr>
          <a:xfrm>
            <a:off x="1088796" y="3433191"/>
            <a:ext cx="8490978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/>
          <p:nvPr/>
        </p:nvCxnSpPr>
        <p:spPr>
          <a:xfrm>
            <a:off x="9579775" y="3433191"/>
            <a:ext cx="1481343" cy="0"/>
          </a:xfrm>
          <a:prstGeom prst="line">
            <a:avLst/>
          </a:prstGeom>
          <a:ln w="6350">
            <a:solidFill>
              <a:schemeClr val="tx2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120"/>
          <p:cNvCxnSpPr/>
          <p:nvPr/>
        </p:nvCxnSpPr>
        <p:spPr>
          <a:xfrm>
            <a:off x="9582047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/>
          <p:cNvCxnSpPr/>
          <p:nvPr/>
        </p:nvCxnSpPr>
        <p:spPr>
          <a:xfrm>
            <a:off x="11061118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/>
          <p:cNvCxnSpPr/>
          <p:nvPr/>
        </p:nvCxnSpPr>
        <p:spPr>
          <a:xfrm>
            <a:off x="5302440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/>
          <p:nvPr/>
        </p:nvCxnSpPr>
        <p:spPr>
          <a:xfrm>
            <a:off x="3925703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/>
          <p:cNvCxnSpPr/>
          <p:nvPr/>
        </p:nvCxnSpPr>
        <p:spPr>
          <a:xfrm>
            <a:off x="2513310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/>
          <p:nvPr/>
        </p:nvCxnSpPr>
        <p:spPr>
          <a:xfrm>
            <a:off x="1088796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2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3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FCEDF8-E01B-4D65-B800-77998C5C87E1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Sunday, October 19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5519781" y="1674479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5519781" y="2691366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44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19781" y="2856097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cxnSp>
        <p:nvCxnSpPr>
          <p:cNvPr id="145" name="Straight Connector 144"/>
          <p:cNvCxnSpPr/>
          <p:nvPr/>
        </p:nvCxnSpPr>
        <p:spPr>
          <a:xfrm>
            <a:off x="6057406" y="3086187"/>
            <a:ext cx="0" cy="343134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/>
          <p:cNvCxnSpPr/>
          <p:nvPr/>
        </p:nvCxnSpPr>
        <p:spPr>
          <a:xfrm>
            <a:off x="6760791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/>
          <p:cNvCxnSpPr/>
          <p:nvPr/>
        </p:nvCxnSpPr>
        <p:spPr>
          <a:xfrm>
            <a:off x="8153492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Rectangle 150"/>
          <p:cNvSpPr/>
          <p:nvPr userDrawn="1"/>
        </p:nvSpPr>
        <p:spPr>
          <a:xfrm>
            <a:off x="432838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2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524138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53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24138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54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24138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55" name="Rectangle 154"/>
          <p:cNvSpPr/>
          <p:nvPr userDrawn="1"/>
        </p:nvSpPr>
        <p:spPr>
          <a:xfrm>
            <a:off x="1859057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6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1950357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57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1950357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5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1950357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59" name="Rectangle 158"/>
          <p:cNvSpPr/>
          <p:nvPr userDrawn="1"/>
        </p:nvSpPr>
        <p:spPr>
          <a:xfrm>
            <a:off x="3272950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0" name="Picture Placeholder 4"/>
          <p:cNvSpPr>
            <a:spLocks noGrp="1"/>
          </p:cNvSpPr>
          <p:nvPr>
            <p:ph type="pic" sz="quarter" idx="19" hasCustomPrompt="1"/>
          </p:nvPr>
        </p:nvSpPr>
        <p:spPr>
          <a:xfrm>
            <a:off x="3364250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1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3364250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62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364250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63" name="Rectangle 162"/>
          <p:cNvSpPr/>
          <p:nvPr userDrawn="1"/>
        </p:nvSpPr>
        <p:spPr>
          <a:xfrm>
            <a:off x="4646564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4" name="Picture Placeholder 4"/>
          <p:cNvSpPr>
            <a:spLocks noGrp="1"/>
          </p:cNvSpPr>
          <p:nvPr>
            <p:ph type="pic" sz="quarter" idx="22" hasCustomPrompt="1"/>
          </p:nvPr>
        </p:nvSpPr>
        <p:spPr>
          <a:xfrm>
            <a:off x="4737864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5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737864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66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4737864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67" name="Rectangle 166"/>
          <p:cNvSpPr/>
          <p:nvPr userDrawn="1"/>
        </p:nvSpPr>
        <p:spPr>
          <a:xfrm>
            <a:off x="6100746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8" name="Picture Placeholder 4"/>
          <p:cNvSpPr>
            <a:spLocks noGrp="1"/>
          </p:cNvSpPr>
          <p:nvPr>
            <p:ph type="pic" sz="quarter" idx="25" hasCustomPrompt="1"/>
          </p:nvPr>
        </p:nvSpPr>
        <p:spPr>
          <a:xfrm>
            <a:off x="6192046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9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6192046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0" name="Text Placeholder 7"/>
          <p:cNvSpPr>
            <a:spLocks noGrp="1"/>
          </p:cNvSpPr>
          <p:nvPr>
            <p:ph type="body" sz="quarter" idx="27" hasCustomPrompt="1"/>
          </p:nvPr>
        </p:nvSpPr>
        <p:spPr>
          <a:xfrm>
            <a:off x="6192046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1" name="Rectangle 170"/>
          <p:cNvSpPr/>
          <p:nvPr userDrawn="1"/>
        </p:nvSpPr>
        <p:spPr>
          <a:xfrm>
            <a:off x="7498529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2" name="Picture Placeholder 4"/>
          <p:cNvSpPr>
            <a:spLocks noGrp="1"/>
          </p:cNvSpPr>
          <p:nvPr>
            <p:ph type="pic" sz="quarter" idx="28" hasCustomPrompt="1"/>
          </p:nvPr>
        </p:nvSpPr>
        <p:spPr>
          <a:xfrm>
            <a:off x="7589829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73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7589829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4" name="Text Placeholder 7"/>
          <p:cNvSpPr>
            <a:spLocks noGrp="1"/>
          </p:cNvSpPr>
          <p:nvPr>
            <p:ph type="body" sz="quarter" idx="30" hasCustomPrompt="1"/>
          </p:nvPr>
        </p:nvSpPr>
        <p:spPr>
          <a:xfrm>
            <a:off x="7589829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5" name="Rectangle 174"/>
          <p:cNvSpPr/>
          <p:nvPr userDrawn="1"/>
        </p:nvSpPr>
        <p:spPr>
          <a:xfrm>
            <a:off x="8927502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6" name="Picture Placeholder 4"/>
          <p:cNvSpPr>
            <a:spLocks noGrp="1"/>
          </p:cNvSpPr>
          <p:nvPr>
            <p:ph type="pic" sz="quarter" idx="31" hasCustomPrompt="1"/>
          </p:nvPr>
        </p:nvSpPr>
        <p:spPr>
          <a:xfrm>
            <a:off x="9018802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77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9018802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8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9018802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9" name="Rectangle 178"/>
          <p:cNvSpPr/>
          <p:nvPr userDrawn="1"/>
        </p:nvSpPr>
        <p:spPr>
          <a:xfrm>
            <a:off x="10405847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0" name="Picture Placeholder 4"/>
          <p:cNvSpPr>
            <a:spLocks noGrp="1"/>
          </p:cNvSpPr>
          <p:nvPr>
            <p:ph type="pic" sz="quarter" idx="34" hasCustomPrompt="1"/>
          </p:nvPr>
        </p:nvSpPr>
        <p:spPr>
          <a:xfrm>
            <a:off x="10497147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81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10497147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82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10497147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5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7203456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. Strategy Slide - 2 Charts and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C864BA00-0CA2-427F-BFA8-D5F899DEBB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7000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C864BA00-0CA2-427F-BFA8-D5F899DEBB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6105DD77-FB08-49F6-A436-E8CD9C941F4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WO GRAPHS/CHARTS AND TEXT</a:t>
            </a:r>
          </a:p>
        </p:txBody>
      </p:sp>
      <p:sp>
        <p:nvSpPr>
          <p:cNvPr id="3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3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5081A10D-3708-4E36-B916-C061A4726F31}" type="datetime2">
              <a:rPr lang="en-US" smtClean="0"/>
              <a:t>Sunday, October 19, 2025</a:t>
            </a:fld>
            <a:endParaRPr lang="en-US"/>
          </a:p>
        </p:txBody>
      </p:sp>
      <p:sp>
        <p:nvSpPr>
          <p:cNvPr id="36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4" y="1876657"/>
            <a:ext cx="5116786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45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6198550" y="1876657"/>
            <a:ext cx="5116786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198549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198550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45306053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. Strategy Slide - Company/Function Or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E5A94F79-3A9D-4B26-B0B4-54E0570835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E5A94F79-3A9D-4B26-B0B4-54E0570835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F2FF857E-19FC-4DFA-93C2-FA79EA29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6047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MPANY / FUNCTION ORG CHART.</a:t>
            </a:r>
          </a:p>
        </p:txBody>
      </p:sp>
      <p:cxnSp>
        <p:nvCxnSpPr>
          <p:cNvPr id="143" name="Straight Connector 142"/>
          <p:cNvCxnSpPr>
            <a:stCxn id="210" idx="2"/>
          </p:cNvCxnSpPr>
          <p:nvPr userDrawn="1"/>
        </p:nvCxnSpPr>
        <p:spPr>
          <a:xfrm>
            <a:off x="5367448" y="2111551"/>
            <a:ext cx="0" cy="568149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143"/>
          <p:cNvCxnSpPr/>
          <p:nvPr userDrawn="1"/>
        </p:nvCxnSpPr>
        <p:spPr>
          <a:xfrm flipH="1">
            <a:off x="2979125" y="2530165"/>
            <a:ext cx="485527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ounded Rectangle 144"/>
          <p:cNvSpPr/>
          <p:nvPr userDrawn="1"/>
        </p:nvSpPr>
        <p:spPr>
          <a:xfrm>
            <a:off x="2112960" y="27076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46" name="Straight Connector 145"/>
          <p:cNvCxnSpPr/>
          <p:nvPr userDrawn="1"/>
        </p:nvCxnSpPr>
        <p:spPr>
          <a:xfrm>
            <a:off x="2977056" y="2530165"/>
            <a:ext cx="0" cy="149535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Rounded Rectangle 146"/>
          <p:cNvSpPr/>
          <p:nvPr userDrawn="1"/>
        </p:nvSpPr>
        <p:spPr>
          <a:xfrm>
            <a:off x="1534225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8" name="Rounded Rectangle 147"/>
          <p:cNvSpPr/>
          <p:nvPr userDrawn="1"/>
        </p:nvSpPr>
        <p:spPr>
          <a:xfrm>
            <a:off x="1534225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9" name="Rounded Rectangle 148"/>
          <p:cNvSpPr/>
          <p:nvPr userDrawn="1"/>
        </p:nvSpPr>
        <p:spPr>
          <a:xfrm>
            <a:off x="1534225" y="47400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0" name="Rounded Rectangle 149"/>
          <p:cNvSpPr/>
          <p:nvPr userDrawn="1"/>
        </p:nvSpPr>
        <p:spPr>
          <a:xfrm>
            <a:off x="1534225" y="5376518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51" name="Straight Connector 150"/>
          <p:cNvCxnSpPr/>
          <p:nvPr userDrawn="1"/>
        </p:nvCxnSpPr>
        <p:spPr>
          <a:xfrm>
            <a:off x="3518616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/>
          <p:cNvCxnSpPr/>
          <p:nvPr userDrawn="1"/>
        </p:nvCxnSpPr>
        <p:spPr>
          <a:xfrm flipH="1">
            <a:off x="3331590" y="4350378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/>
          <p:cNvCxnSpPr/>
          <p:nvPr userDrawn="1"/>
        </p:nvCxnSpPr>
        <p:spPr>
          <a:xfrm>
            <a:off x="3697136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/>
          <p:cNvCxnSpPr/>
          <p:nvPr userDrawn="1"/>
        </p:nvCxnSpPr>
        <p:spPr>
          <a:xfrm rot="-5400000">
            <a:off x="3796653" y="5536653"/>
            <a:ext cx="0" cy="201706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ounded Rectangle 157"/>
          <p:cNvSpPr/>
          <p:nvPr userDrawn="1"/>
        </p:nvSpPr>
        <p:spPr>
          <a:xfrm>
            <a:off x="4486666" y="27076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9" name="Rounded Rectangle 158"/>
          <p:cNvSpPr/>
          <p:nvPr userDrawn="1"/>
        </p:nvSpPr>
        <p:spPr>
          <a:xfrm>
            <a:off x="3944993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0" name="Rounded Rectangle 159"/>
          <p:cNvSpPr/>
          <p:nvPr userDrawn="1"/>
        </p:nvSpPr>
        <p:spPr>
          <a:xfrm>
            <a:off x="3944993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1" name="Rounded Rectangle 160"/>
          <p:cNvSpPr/>
          <p:nvPr userDrawn="1"/>
        </p:nvSpPr>
        <p:spPr>
          <a:xfrm>
            <a:off x="3944993" y="47400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2" name="Rounded Rectangle 161"/>
          <p:cNvSpPr/>
          <p:nvPr userDrawn="1"/>
        </p:nvSpPr>
        <p:spPr>
          <a:xfrm>
            <a:off x="3944993" y="5376518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63" name="Straight Connector 162"/>
          <p:cNvCxnSpPr/>
          <p:nvPr userDrawn="1"/>
        </p:nvCxnSpPr>
        <p:spPr>
          <a:xfrm>
            <a:off x="5929384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Connector 163"/>
          <p:cNvCxnSpPr/>
          <p:nvPr userDrawn="1"/>
        </p:nvCxnSpPr>
        <p:spPr>
          <a:xfrm flipH="1">
            <a:off x="5750905" y="3705221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4" name="Rounded Rectangle 173"/>
          <p:cNvSpPr/>
          <p:nvPr userDrawn="1"/>
        </p:nvSpPr>
        <p:spPr>
          <a:xfrm>
            <a:off x="6849249" y="2723664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5" name="Rounded Rectangle 174"/>
          <p:cNvSpPr/>
          <p:nvPr userDrawn="1"/>
        </p:nvSpPr>
        <p:spPr>
          <a:xfrm>
            <a:off x="6307576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6" name="Rounded Rectangle 175"/>
          <p:cNvSpPr/>
          <p:nvPr userDrawn="1"/>
        </p:nvSpPr>
        <p:spPr>
          <a:xfrm>
            <a:off x="6307576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77" name="Straight Connector 176"/>
          <p:cNvCxnSpPr/>
          <p:nvPr userDrawn="1"/>
        </p:nvCxnSpPr>
        <p:spPr>
          <a:xfrm>
            <a:off x="8291967" y="3281832"/>
            <a:ext cx="0" cy="1068546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0" name="Rounded Rectangle 179"/>
          <p:cNvSpPr/>
          <p:nvPr userDrawn="1"/>
        </p:nvSpPr>
        <p:spPr>
          <a:xfrm>
            <a:off x="9018041" y="3445559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1" name="Rounded Rectangle 180"/>
          <p:cNvSpPr/>
          <p:nvPr userDrawn="1"/>
        </p:nvSpPr>
        <p:spPr>
          <a:xfrm>
            <a:off x="8476368" y="417734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2" name="Rounded Rectangle 181"/>
          <p:cNvSpPr/>
          <p:nvPr userDrawn="1"/>
        </p:nvSpPr>
        <p:spPr>
          <a:xfrm>
            <a:off x="8476368" y="4830540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3" name="Rounded Rectangle 182"/>
          <p:cNvSpPr/>
          <p:nvPr userDrawn="1"/>
        </p:nvSpPr>
        <p:spPr>
          <a:xfrm>
            <a:off x="8476368" y="546191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85" name="Straight Connector 184"/>
          <p:cNvCxnSpPr/>
          <p:nvPr userDrawn="1"/>
        </p:nvCxnSpPr>
        <p:spPr>
          <a:xfrm>
            <a:off x="10460759" y="4003727"/>
            <a:ext cx="0" cy="171585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Connector 185"/>
          <p:cNvCxnSpPr/>
          <p:nvPr userDrawn="1"/>
        </p:nvCxnSpPr>
        <p:spPr>
          <a:xfrm flipH="1">
            <a:off x="10291072" y="4427116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Straight Connector 198"/>
          <p:cNvCxnSpPr/>
          <p:nvPr userDrawn="1"/>
        </p:nvCxnSpPr>
        <p:spPr>
          <a:xfrm>
            <a:off x="7834402" y="2530165"/>
            <a:ext cx="0" cy="177457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Straight Connector 199"/>
          <p:cNvCxnSpPr/>
          <p:nvPr userDrawn="1"/>
        </p:nvCxnSpPr>
        <p:spPr>
          <a:xfrm flipH="1">
            <a:off x="6322236" y="1853247"/>
            <a:ext cx="3545494" cy="0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Straight Connector 200"/>
          <p:cNvCxnSpPr/>
          <p:nvPr userDrawn="1"/>
        </p:nvCxnSpPr>
        <p:spPr>
          <a:xfrm flipV="1">
            <a:off x="9867730" y="1852539"/>
            <a:ext cx="0" cy="1560250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Straight Connector 205"/>
          <p:cNvCxnSpPr/>
          <p:nvPr userDrawn="1"/>
        </p:nvCxnSpPr>
        <p:spPr>
          <a:xfrm flipH="1">
            <a:off x="8104941" y="3725455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0" name="Rounded Rectangle 209"/>
          <p:cNvSpPr/>
          <p:nvPr userDrawn="1"/>
        </p:nvSpPr>
        <p:spPr>
          <a:xfrm>
            <a:off x="4486666" y="160589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610101" y="1738623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09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610101" y="1903354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04650" y="2841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2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604650" y="3005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3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976375" y="2841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4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6976375" y="3005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5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2239275" y="2841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6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2239275" y="3005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17" name="Straight Connector 216"/>
          <p:cNvCxnSpPr/>
          <p:nvPr userDrawn="1"/>
        </p:nvCxnSpPr>
        <p:spPr>
          <a:xfrm flipH="1">
            <a:off x="8104941" y="4350930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8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1661425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9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1661425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20" name="Straight Connector 219"/>
          <p:cNvCxnSpPr/>
          <p:nvPr userDrawn="1"/>
        </p:nvCxnSpPr>
        <p:spPr>
          <a:xfrm flipH="1">
            <a:off x="3331590" y="3734428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/>
          <p:cNvCxnSpPr/>
          <p:nvPr userDrawn="1"/>
        </p:nvCxnSpPr>
        <p:spPr>
          <a:xfrm flipH="1">
            <a:off x="3331590" y="5007603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/>
          <p:cNvCxnSpPr/>
          <p:nvPr userDrawn="1"/>
        </p:nvCxnSpPr>
        <p:spPr>
          <a:xfrm flipH="1">
            <a:off x="3331590" y="5633078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1661425" y="424127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4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1661425" y="440600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25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1661425" y="486992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6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1661425" y="503465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27" name="Text Placeholder 7"/>
          <p:cNvSpPr>
            <a:spLocks noGrp="1"/>
          </p:cNvSpPr>
          <p:nvPr>
            <p:ph type="body" sz="quarter" idx="25" hasCustomPrompt="1"/>
          </p:nvPr>
        </p:nvSpPr>
        <p:spPr>
          <a:xfrm>
            <a:off x="1661425" y="5508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8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1661425" y="5672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0" name="Text Placeholder 7"/>
          <p:cNvSpPr>
            <a:spLocks noGrp="1"/>
          </p:cNvSpPr>
          <p:nvPr>
            <p:ph type="body" sz="quarter" idx="27" hasCustomPrompt="1"/>
          </p:nvPr>
        </p:nvSpPr>
        <p:spPr>
          <a:xfrm>
            <a:off x="4063966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1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4063966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2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4063966" y="424127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3" name="Text Placeholder 7"/>
          <p:cNvSpPr>
            <a:spLocks noGrp="1"/>
          </p:cNvSpPr>
          <p:nvPr>
            <p:ph type="body" sz="quarter" idx="30" hasCustomPrompt="1"/>
          </p:nvPr>
        </p:nvSpPr>
        <p:spPr>
          <a:xfrm>
            <a:off x="4063966" y="440600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4" name="Text Placeholder 7"/>
          <p:cNvSpPr>
            <a:spLocks noGrp="1"/>
          </p:cNvSpPr>
          <p:nvPr>
            <p:ph type="body" sz="quarter" idx="31" hasCustomPrompt="1"/>
          </p:nvPr>
        </p:nvSpPr>
        <p:spPr>
          <a:xfrm>
            <a:off x="4063966" y="486992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5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4063966" y="503465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6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4063966" y="5508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7" name="Text Placeholder 7"/>
          <p:cNvSpPr>
            <a:spLocks noGrp="1"/>
          </p:cNvSpPr>
          <p:nvPr>
            <p:ph type="body" sz="quarter" idx="34" hasCustomPrompt="1"/>
          </p:nvPr>
        </p:nvSpPr>
        <p:spPr>
          <a:xfrm>
            <a:off x="4063966" y="5672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5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8600107" y="4312984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46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8600107" y="4477715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7" name="Text Placeholder 7"/>
          <p:cNvSpPr>
            <a:spLocks noGrp="1"/>
          </p:cNvSpPr>
          <p:nvPr>
            <p:ph type="body" sz="quarter" idx="37" hasCustomPrompt="1"/>
          </p:nvPr>
        </p:nvSpPr>
        <p:spPr>
          <a:xfrm>
            <a:off x="8600107" y="4941634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48" name="Text Placeholder 7"/>
          <p:cNvSpPr>
            <a:spLocks noGrp="1"/>
          </p:cNvSpPr>
          <p:nvPr>
            <p:ph type="body" sz="quarter" idx="38" hasCustomPrompt="1"/>
          </p:nvPr>
        </p:nvSpPr>
        <p:spPr>
          <a:xfrm>
            <a:off x="8600107" y="5106365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9" name="Text Placeholder 7"/>
          <p:cNvSpPr>
            <a:spLocks noGrp="1"/>
          </p:cNvSpPr>
          <p:nvPr>
            <p:ph type="body" sz="quarter" idx="39" hasCustomPrompt="1"/>
          </p:nvPr>
        </p:nvSpPr>
        <p:spPr>
          <a:xfrm>
            <a:off x="8600107" y="5579809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0" name="Text Placeholder 7"/>
          <p:cNvSpPr>
            <a:spLocks noGrp="1"/>
          </p:cNvSpPr>
          <p:nvPr>
            <p:ph type="body" sz="quarter" idx="40" hasCustomPrompt="1"/>
          </p:nvPr>
        </p:nvSpPr>
        <p:spPr>
          <a:xfrm>
            <a:off x="8600107" y="5744540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1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6436625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2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6436625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3" name="Text Placeholder 7"/>
          <p:cNvSpPr>
            <a:spLocks noGrp="1"/>
          </p:cNvSpPr>
          <p:nvPr>
            <p:ph type="body" sz="quarter" idx="43" hasCustomPrompt="1"/>
          </p:nvPr>
        </p:nvSpPr>
        <p:spPr>
          <a:xfrm>
            <a:off x="6436625" y="424127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4" name="Text Placeholder 7"/>
          <p:cNvSpPr>
            <a:spLocks noGrp="1"/>
          </p:cNvSpPr>
          <p:nvPr>
            <p:ph type="body" sz="quarter" idx="44" hasCustomPrompt="1"/>
          </p:nvPr>
        </p:nvSpPr>
        <p:spPr>
          <a:xfrm>
            <a:off x="6436625" y="440600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5" name="Text Placeholder 7"/>
          <p:cNvSpPr>
            <a:spLocks noGrp="1"/>
          </p:cNvSpPr>
          <p:nvPr>
            <p:ph type="body" sz="quarter" idx="45" hasCustomPrompt="1"/>
          </p:nvPr>
        </p:nvSpPr>
        <p:spPr>
          <a:xfrm>
            <a:off x="9161895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6" name="Text Placeholder 7"/>
          <p:cNvSpPr>
            <a:spLocks noGrp="1"/>
          </p:cNvSpPr>
          <p:nvPr>
            <p:ph type="body" sz="quarter" idx="46" hasCustomPrompt="1"/>
          </p:nvPr>
        </p:nvSpPr>
        <p:spPr>
          <a:xfrm>
            <a:off x="9161895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57" name="Straight Connector 256"/>
          <p:cNvCxnSpPr/>
          <p:nvPr userDrawn="1"/>
        </p:nvCxnSpPr>
        <p:spPr>
          <a:xfrm flipH="1">
            <a:off x="10291072" y="5104123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8" name="Straight Connector 257"/>
          <p:cNvCxnSpPr/>
          <p:nvPr userDrawn="1"/>
        </p:nvCxnSpPr>
        <p:spPr>
          <a:xfrm flipH="1">
            <a:off x="10291072" y="5719585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9" name="Straight Connector 258"/>
          <p:cNvCxnSpPr/>
          <p:nvPr userDrawn="1"/>
        </p:nvCxnSpPr>
        <p:spPr>
          <a:xfrm flipH="1">
            <a:off x="5750905" y="4377832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0" name="Straight Connector 259"/>
          <p:cNvCxnSpPr/>
          <p:nvPr userDrawn="1"/>
        </p:nvCxnSpPr>
        <p:spPr>
          <a:xfrm flipH="1">
            <a:off x="5750905" y="5024067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Straight Connector 260"/>
          <p:cNvCxnSpPr/>
          <p:nvPr userDrawn="1"/>
        </p:nvCxnSpPr>
        <p:spPr>
          <a:xfrm flipH="1">
            <a:off x="5750905" y="5630736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075149791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. Strategy Slid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ACFBB21C-610C-4479-8329-40032A76CE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ACFBB21C-610C-4479-8329-40032A76CE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5D26391B-1B66-41F8-9FF7-E099C58466D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58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BLANK SLIDE FOR BESPOKE USE.</a:t>
            </a:r>
          </a:p>
        </p:txBody>
      </p:sp>
      <p:sp>
        <p:nvSpPr>
          <p:cNvPr id="7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C599CF-32FC-4546-9071-AED32C48D7AE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Sunday, October 19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13963031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. Strategy Slide Blank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5F9DF8BF-4474-44F7-AE1B-863796BE7E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5F9DF8BF-4474-44F7-AE1B-863796BE7E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723BE91F-E086-4328-991A-FA2D4453FC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885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NFIDENTIAL SLIDE.</a:t>
            </a:r>
          </a:p>
        </p:txBody>
      </p:sp>
      <p:sp>
        <p:nvSpPr>
          <p:cNvPr id="5" name="Parallelogram 4"/>
          <p:cNvSpPr/>
          <p:nvPr userDrawn="1"/>
        </p:nvSpPr>
        <p:spPr>
          <a:xfrm rot="10800000" flipH="1">
            <a:off x="9353004" y="3501"/>
            <a:ext cx="1514367" cy="998836"/>
          </a:xfrm>
          <a:prstGeom prst="parallelogram">
            <a:avLst>
              <a:gd name="adj" fmla="val 100977"/>
            </a:avLst>
          </a:prstGeom>
          <a:solidFill>
            <a:schemeClr val="accent4"/>
          </a:solidFill>
          <a:ln>
            <a:noFill/>
          </a:ln>
          <a:effectLst>
            <a:outerShdw blurRad="381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 rot="2653766">
            <a:off x="9346483" y="320608"/>
            <a:ext cx="1546873" cy="3552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NFIDENTIAL</a:t>
            </a:r>
          </a:p>
        </p:txBody>
      </p:sp>
      <p:sp>
        <p:nvSpPr>
          <p:cNvPr id="6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5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5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A336D7-3FB4-4A6A-9BA5-C8918FC89344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Sunday, October 19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585560226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. Strategy Slide Executiv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DC98AC7D-41B1-4045-9CA8-8517755F5A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DC98AC7D-41B1-4045-9CA8-8517755F5A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DD66F303-136E-4BA9-A511-851CF4B7E5A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04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EXECUTIVE SUMMARY SLIDE.</a:t>
            </a:r>
          </a:p>
        </p:txBody>
      </p:sp>
      <p:sp>
        <p:nvSpPr>
          <p:cNvPr id="35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736571" y="1548820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| 01</a:t>
            </a:r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557293" y="1550217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br>
              <a:rPr lang="en-US"/>
            </a:br>
            <a:r>
              <a:rPr lang="en-US"/>
              <a:t>• 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38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36571" y="2462733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| 02</a:t>
            </a:r>
          </a:p>
        </p:txBody>
      </p:sp>
      <p:sp>
        <p:nvSpPr>
          <p:cNvPr id="41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36570" y="3380924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/>
              <a:t>| 03</a:t>
            </a:r>
          </a:p>
        </p:txBody>
      </p:sp>
      <p:sp>
        <p:nvSpPr>
          <p:cNvPr id="44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736570" y="4298839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| 04</a:t>
            </a:r>
          </a:p>
        </p:txBody>
      </p:sp>
      <p:sp>
        <p:nvSpPr>
          <p:cNvPr id="50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736570" y="5184791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| 05</a:t>
            </a:r>
          </a:p>
        </p:txBody>
      </p:sp>
      <p:sp>
        <p:nvSpPr>
          <p:cNvPr id="52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1557293" y="2462733"/>
            <a:ext cx="5284941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br>
              <a:rPr lang="en-US"/>
            </a:br>
            <a:r>
              <a:rPr lang="en-US"/>
              <a:t>• Lea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</a:p>
        </p:txBody>
      </p:sp>
      <p:sp>
        <p:nvSpPr>
          <p:cNvPr id="53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1557293" y="3376282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br>
              <a:rPr lang="en-US"/>
            </a:br>
            <a:r>
              <a:rPr lang="en-US"/>
              <a:t>•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endParaRPr lang="en-US"/>
          </a:p>
        </p:txBody>
      </p:sp>
      <p:sp>
        <p:nvSpPr>
          <p:cNvPr id="54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1557293" y="4297539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br>
              <a:rPr lang="en-US"/>
            </a:br>
            <a:r>
              <a:rPr lang="en-US"/>
              <a:t>•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 </a:t>
            </a:r>
            <a:r>
              <a:rPr lang="en-US" err="1"/>
              <a:t>prompta</a:t>
            </a:r>
            <a:r>
              <a:rPr lang="en-US"/>
              <a:t> qui no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55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1557293" y="5187109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imperdie</a:t>
            </a:r>
            <a:br>
              <a:rPr lang="en-US"/>
            </a:br>
            <a:r>
              <a:rPr lang="en-US"/>
              <a:t>•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</a:p>
        </p:txBody>
      </p:sp>
      <p:sp>
        <p:nvSpPr>
          <p:cNvPr id="5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B8EB3F-64B7-4D6B-8899-ACCCE5991EAA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Sunday, October 19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83651078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1" y="1594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73" imgH="473" progId="TCLayout.ActiveDocument.1">
                  <p:embed/>
                </p:oleObj>
              </mc:Choice>
              <mc:Fallback>
                <p:oleObj name="Diapositiva de think-cell" r:id="rId4" imgW="473" imgH="47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1" y="1594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85A802FE-64CC-49B5-BA41-463B2789FDB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D05E536-226C-4ACD-A419-14AC5EC82C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809" y="217464"/>
            <a:ext cx="10512000" cy="435600"/>
          </a:xfrm>
          <a:prstGeom prst="rect">
            <a:avLst/>
          </a:prstGeom>
        </p:spPr>
        <p:txBody>
          <a:bodyPr wrap="square" lIns="0" rIns="0"/>
          <a:lstStyle>
            <a:lvl1pPr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114080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7">
          <p15:clr>
            <a:srgbClr val="FBAE40"/>
          </p15:clr>
        </p15:guide>
        <p15:guide id="2" pos="2880">
          <p15:clr>
            <a:srgbClr val="FBAE40"/>
          </p15:clr>
        </p15:guide>
        <p15:guide id="3" pos="187">
          <p15:clr>
            <a:srgbClr val="FBAE40"/>
          </p15:clr>
        </p15:guide>
        <p15:guide id="4" pos="5573">
          <p15:clr>
            <a:srgbClr val="FBAE40"/>
          </p15:clr>
        </p15:guide>
        <p15:guide id="5" orient="horz" pos="743">
          <p15:clr>
            <a:srgbClr val="FBAE40"/>
          </p15:clr>
        </p15:guide>
        <p15:guide id="6" orient="horz" pos="4031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31" y="159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92" imgH="504" progId="TCLayout.ActiveDocument.1">
                  <p:embed/>
                </p:oleObj>
              </mc:Choice>
              <mc:Fallback>
                <p:oleObj name="Diapositiva de think-cell" r:id="rId4" imgW="492" imgH="504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31" y="1595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>
            <a:extLst>
              <a:ext uri="{FF2B5EF4-FFF2-40B4-BE49-F238E27FC236}">
                <a16:creationId xmlns:a16="http://schemas.microsoft.com/office/drawing/2014/main" id="{2A263A6D-4296-4D88-9EEA-CBD9F29E642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Rectángulo 1"/>
          <p:cNvSpPr/>
          <p:nvPr userDrawn="1"/>
        </p:nvSpPr>
        <p:spPr>
          <a:xfrm>
            <a:off x="10880787" y="163902"/>
            <a:ext cx="1150188" cy="9230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915160" y="6602596"/>
            <a:ext cx="2844800" cy="248530"/>
          </a:xfrm>
          <a:prstGeom prst="rect">
            <a:avLst/>
          </a:prstGeom>
        </p:spPr>
        <p:txBody>
          <a:bodyPr vert="horz" lIns="91440" tIns="45720" rIns="0" bIns="45720" rtlCol="0" anchor="ctr">
            <a:spAutoFit/>
          </a:bodyPr>
          <a:lstStyle>
            <a:lvl1pPr algn="r">
              <a:defRPr sz="1015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1015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1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286109" y="270232"/>
            <a:ext cx="10515600" cy="402626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+mj-lt"/>
              </a:defRPr>
            </a:lvl1pPr>
          </a:lstStyle>
          <a:p>
            <a:r>
              <a:rPr lang="en-US"/>
              <a:t>Haga clic para modificar el estilo de título del patrón</a:t>
            </a:r>
          </a:p>
        </p:txBody>
      </p:sp>
      <p:pic>
        <p:nvPicPr>
          <p:cNvPr id="5" name="Picture 33" descr="Image result for vtr logo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097645" y="189599"/>
            <a:ext cx="801123" cy="49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47195454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ront Cover Slide - Market Op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02BE58E-0401-4D72-91AA-3CD4318FED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592" imgH="591" progId="TCLayout.ActiveDocument.1">
                  <p:embed/>
                </p:oleObj>
              </mc:Choice>
              <mc:Fallback>
                <p:oleObj name="Diapositiva de think-cell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02BE58E-0401-4D72-91AA-3CD4318FE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00B9010-66AE-4CC6-9D8C-02E06F29DA9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402383"/>
            <a:ext cx="2743200" cy="271225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162CEA-C007-4B27-A0CB-BFAA25D22CBC}" type="datetime2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3E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Sunday, 19 October 2025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3E383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5143500"/>
            <a:ext cx="9939866" cy="529167"/>
          </a:xfrm>
          <a:prstGeom prst="rect">
            <a:avLst/>
          </a:prstGeom>
        </p:spPr>
        <p:txBody>
          <a:bodyPr lIns="0" tIns="0" rIns="0" bIns="0"/>
          <a:lstStyle>
            <a:lvl1pPr>
              <a:defRPr baseline="0"/>
            </a:lvl1pPr>
          </a:lstStyle>
          <a:p>
            <a:r>
              <a:rPr lang="en-US"/>
              <a:t>FRONT COVER SLIDE | UPPERCASE ONLY | 32P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5742569"/>
            <a:ext cx="9939867" cy="345184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aseline="0"/>
            </a:lvl1pPr>
          </a:lstStyle>
          <a:p>
            <a:pPr lvl="0"/>
            <a:r>
              <a:rPr lang="en-US"/>
              <a:t>FRONT COVER SUB HEADING | UPPERCASE ONLY | 18PT</a:t>
            </a:r>
          </a:p>
        </p:txBody>
      </p:sp>
      <p:pic>
        <p:nvPicPr>
          <p:cNvPr id="57" name="Picture 56"/>
          <p:cNvPicPr>
            <a:picLocks noChangeAspect="1"/>
          </p:cNvPicPr>
          <p:nvPr userDrawn="1"/>
        </p:nvPicPr>
        <p:blipFill rotWithShape="1">
          <a:blip r:embed="rId6" cstate="screen">
            <a:alphaModFix amt="3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19861" y="0"/>
            <a:ext cx="2372139" cy="4802775"/>
          </a:xfrm>
          <a:prstGeom prst="rect">
            <a:avLst/>
          </a:prstGeom>
          <a:effectLst/>
        </p:spPr>
      </p:pic>
      <p:cxnSp>
        <p:nvCxnSpPr>
          <p:cNvPr id="117" name="Straight Connector 116"/>
          <p:cNvCxnSpPr/>
          <p:nvPr userDrawn="1"/>
        </p:nvCxnSpPr>
        <p:spPr>
          <a:xfrm>
            <a:off x="0" y="4715383"/>
            <a:ext cx="12191999" cy="0"/>
          </a:xfrm>
          <a:prstGeom prst="line">
            <a:avLst/>
          </a:prstGeom>
          <a:ln w="381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ounded Rectangle 33"/>
          <p:cNvSpPr/>
          <p:nvPr userDrawn="1"/>
        </p:nvSpPr>
        <p:spPr>
          <a:xfrm>
            <a:off x="2552617" y="4351843"/>
            <a:ext cx="1148080" cy="450932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35" name="Straight Connector 34"/>
          <p:cNvCxnSpPr/>
          <p:nvPr userDrawn="1"/>
        </p:nvCxnSpPr>
        <p:spPr>
          <a:xfrm>
            <a:off x="2548398" y="4712870"/>
            <a:ext cx="1144933" cy="0"/>
          </a:xfrm>
          <a:prstGeom prst="line">
            <a:avLst/>
          </a:prstGeom>
          <a:ln w="38100">
            <a:solidFill>
              <a:schemeClr val="tx1"/>
            </a:solidFill>
            <a:headEnd type="none" w="med" len="med"/>
            <a:tailEnd type="none" w="med" len="med"/>
          </a:ln>
          <a:effectLst>
            <a:outerShdw blurRad="50800" dist="12700" dir="16200000" rotWithShape="0">
              <a:schemeClr val="tx1">
                <a:lumMod val="50000"/>
                <a:alpha val="85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ounded Rectangle 35"/>
          <p:cNvSpPr/>
          <p:nvPr userDrawn="1"/>
        </p:nvSpPr>
        <p:spPr>
          <a:xfrm>
            <a:off x="1366112" y="4351843"/>
            <a:ext cx="1148080" cy="450932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37" name="Straight Connector 36"/>
          <p:cNvCxnSpPr/>
          <p:nvPr userDrawn="1"/>
        </p:nvCxnSpPr>
        <p:spPr>
          <a:xfrm>
            <a:off x="1370281" y="4712870"/>
            <a:ext cx="1144933" cy="0"/>
          </a:xfrm>
          <a:prstGeom prst="line">
            <a:avLst/>
          </a:prstGeom>
          <a:ln w="38100">
            <a:solidFill>
              <a:schemeClr val="tx1"/>
            </a:solidFill>
            <a:headEnd type="none" w="med" len="med"/>
            <a:tailEnd type="none" w="med" len="med"/>
          </a:ln>
          <a:effectLst>
            <a:outerShdw blurRad="50800" dist="12700" dir="16200000" rotWithShape="0">
              <a:schemeClr val="tx1">
                <a:lumMod val="50000"/>
                <a:alpha val="85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ounded Rectangle 37"/>
          <p:cNvSpPr/>
          <p:nvPr userDrawn="1"/>
        </p:nvSpPr>
        <p:spPr>
          <a:xfrm>
            <a:off x="182404" y="4351843"/>
            <a:ext cx="1148080" cy="450932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TextBox 38"/>
          <p:cNvSpPr txBox="1"/>
          <p:nvPr userDrawn="1"/>
        </p:nvSpPr>
        <p:spPr>
          <a:xfrm>
            <a:off x="223643" y="4261406"/>
            <a:ext cx="1119423" cy="61555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rt of Liberty Latin America</a:t>
            </a:r>
          </a:p>
        </p:txBody>
      </p:sp>
      <p:pic>
        <p:nvPicPr>
          <p:cNvPr id="40" name="Picture 39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0601" y="4409887"/>
            <a:ext cx="873110" cy="232210"/>
          </a:xfrm>
          <a:prstGeom prst="rect">
            <a:avLst/>
          </a:prstGeom>
          <a:effectLst/>
        </p:spPr>
      </p:pic>
      <p:cxnSp>
        <p:nvCxnSpPr>
          <p:cNvPr id="41" name="Straight Connector 40"/>
          <p:cNvCxnSpPr/>
          <p:nvPr userDrawn="1"/>
        </p:nvCxnSpPr>
        <p:spPr>
          <a:xfrm flipV="1">
            <a:off x="182404" y="4719044"/>
            <a:ext cx="1149102" cy="14409"/>
          </a:xfrm>
          <a:prstGeom prst="line">
            <a:avLst/>
          </a:prstGeom>
          <a:ln w="38100">
            <a:solidFill>
              <a:schemeClr val="accent6">
                <a:lumMod val="50000"/>
              </a:schemeClr>
            </a:solidFill>
            <a:headEnd type="none" w="med" len="med"/>
            <a:tailEnd type="none" w="med" len="med"/>
          </a:ln>
          <a:effectLst>
            <a:outerShdw blurRad="50800" dist="12700" dir="16200000" rotWithShape="0">
              <a:schemeClr val="tx1">
                <a:lumMod val="50000"/>
                <a:alpha val="85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2" name="Picture 41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4123" y="4362840"/>
            <a:ext cx="692427" cy="325697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0811" y="4387517"/>
            <a:ext cx="653109" cy="268150"/>
          </a:xfrm>
          <a:prstGeom prst="rect">
            <a:avLst/>
          </a:prstGeom>
        </p:spPr>
      </p:pic>
      <p:sp>
        <p:nvSpPr>
          <p:cNvPr id="116" name="Rectangle 115"/>
          <p:cNvSpPr/>
          <p:nvPr userDrawn="1"/>
        </p:nvSpPr>
        <p:spPr>
          <a:xfrm>
            <a:off x="0" y="4730154"/>
            <a:ext cx="12191999" cy="2826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7" name="Picture 2" descr="Image result for panama">
            <a:extLst>
              <a:ext uri="{FF2B5EF4-FFF2-40B4-BE49-F238E27FC236}">
                <a16:creationId xmlns:a16="http://schemas.microsoft.com/office/drawing/2014/main" id="{FDBB32D6-A466-4008-AB02-3CB88A182E6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523817"/>
            <a:ext cx="12191999" cy="5244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74698180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 Orang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CF76D5CA-7EF6-4E33-8DB9-EA5123A3FF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CF76D5CA-7EF6-4E33-8DB9-EA5123A3FF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A262658B-BCDD-4E6C-999E-ED8C721089B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0" y="0"/>
            <a:ext cx="12191999" cy="4733453"/>
          </a:xfrm>
          <a:prstGeom prst="rect">
            <a:avLst/>
          </a:prstGeom>
          <a:gradFill>
            <a:gsLst>
              <a:gs pos="0">
                <a:schemeClr val="bg2"/>
              </a:gs>
              <a:gs pos="100000">
                <a:schemeClr val="bg2">
                  <a:lumMod val="50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Rounded Rectangle 33"/>
          <p:cNvSpPr/>
          <p:nvPr userDrawn="1"/>
        </p:nvSpPr>
        <p:spPr>
          <a:xfrm>
            <a:off x="2552617" y="4351843"/>
            <a:ext cx="1148080" cy="450932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35" name="Straight Connector 34"/>
          <p:cNvCxnSpPr/>
          <p:nvPr userDrawn="1"/>
        </p:nvCxnSpPr>
        <p:spPr>
          <a:xfrm>
            <a:off x="2548398" y="4712870"/>
            <a:ext cx="1144933" cy="0"/>
          </a:xfrm>
          <a:prstGeom prst="line">
            <a:avLst/>
          </a:prstGeom>
          <a:ln w="38100">
            <a:solidFill>
              <a:schemeClr val="tx1"/>
            </a:solidFill>
            <a:headEnd type="none" w="med" len="med"/>
            <a:tailEnd type="none" w="med" len="med"/>
          </a:ln>
          <a:effectLst>
            <a:outerShdw blurRad="50800" dist="12700" dir="16200000" rotWithShape="0">
              <a:schemeClr val="tx1">
                <a:lumMod val="50000"/>
                <a:alpha val="85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ounded Rectangle 35"/>
          <p:cNvSpPr/>
          <p:nvPr userDrawn="1"/>
        </p:nvSpPr>
        <p:spPr>
          <a:xfrm>
            <a:off x="1366112" y="4351843"/>
            <a:ext cx="1148080" cy="450932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37" name="Straight Connector 36"/>
          <p:cNvCxnSpPr/>
          <p:nvPr userDrawn="1"/>
        </p:nvCxnSpPr>
        <p:spPr>
          <a:xfrm>
            <a:off x="1370281" y="4712870"/>
            <a:ext cx="1144933" cy="0"/>
          </a:xfrm>
          <a:prstGeom prst="line">
            <a:avLst/>
          </a:prstGeom>
          <a:ln w="38100">
            <a:solidFill>
              <a:schemeClr val="tx1"/>
            </a:solidFill>
            <a:headEnd type="none" w="med" len="med"/>
            <a:tailEnd type="none" w="med" len="med"/>
          </a:ln>
          <a:effectLst>
            <a:outerShdw blurRad="50800" dist="12700" dir="16200000" rotWithShape="0">
              <a:schemeClr val="tx1">
                <a:lumMod val="50000"/>
                <a:alpha val="85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ounded Rectangle 37"/>
          <p:cNvSpPr/>
          <p:nvPr userDrawn="1"/>
        </p:nvSpPr>
        <p:spPr>
          <a:xfrm>
            <a:off x="182404" y="4351843"/>
            <a:ext cx="1148080" cy="450932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TextBox 38"/>
          <p:cNvSpPr txBox="1"/>
          <p:nvPr userDrawn="1"/>
        </p:nvSpPr>
        <p:spPr>
          <a:xfrm>
            <a:off x="223643" y="4261406"/>
            <a:ext cx="1119423" cy="61555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rt of Liberty Latin America</a:t>
            </a:r>
          </a:p>
        </p:txBody>
      </p:sp>
      <p:pic>
        <p:nvPicPr>
          <p:cNvPr id="40" name="Picture 3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144" t="13098" r="7849" b="8586"/>
          <a:stretch/>
        </p:blipFill>
        <p:spPr>
          <a:xfrm>
            <a:off x="310601" y="4409887"/>
            <a:ext cx="873110" cy="232210"/>
          </a:xfrm>
          <a:prstGeom prst="rect">
            <a:avLst/>
          </a:prstGeom>
          <a:effectLst/>
        </p:spPr>
      </p:pic>
      <p:cxnSp>
        <p:nvCxnSpPr>
          <p:cNvPr id="41" name="Straight Connector 40"/>
          <p:cNvCxnSpPr/>
          <p:nvPr userDrawn="1"/>
        </p:nvCxnSpPr>
        <p:spPr>
          <a:xfrm flipV="1">
            <a:off x="182404" y="4719044"/>
            <a:ext cx="1149102" cy="14409"/>
          </a:xfrm>
          <a:prstGeom prst="line">
            <a:avLst/>
          </a:prstGeom>
          <a:ln w="38100">
            <a:solidFill>
              <a:schemeClr val="accent6">
                <a:lumMod val="50000"/>
              </a:schemeClr>
            </a:solidFill>
            <a:headEnd type="none" w="med" len="med"/>
            <a:tailEnd type="none" w="med" len="med"/>
          </a:ln>
          <a:effectLst>
            <a:outerShdw blurRad="50800" dist="12700" dir="16200000" rotWithShape="0">
              <a:schemeClr val="tx1">
                <a:lumMod val="50000"/>
                <a:alpha val="85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2" name="Picture 41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4123" y="4362840"/>
            <a:ext cx="692427" cy="325697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0811" y="4387517"/>
            <a:ext cx="653109" cy="268150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402383"/>
            <a:ext cx="2743200" cy="271225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D5DCD9-9198-45AC-A2C5-2305FD5E1921}" type="datetime2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E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Sunday, October 19, 2025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3E383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5143500"/>
            <a:ext cx="9939866" cy="529167"/>
          </a:xfrm>
          <a:prstGeom prst="rect">
            <a:avLst/>
          </a:prstGeom>
        </p:spPr>
        <p:txBody>
          <a:bodyPr lIns="0" tIns="0" rIns="0" bIns="0"/>
          <a:lstStyle>
            <a:lvl1pPr>
              <a:defRPr baseline="0"/>
            </a:lvl1pPr>
          </a:lstStyle>
          <a:p>
            <a:r>
              <a:rPr lang="en-US"/>
              <a:t>GENERAL DIVIDER | UPPERCASE ONLY | 32P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5742569"/>
            <a:ext cx="9939867" cy="345184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aseline="0"/>
            </a:lvl1pPr>
          </a:lstStyle>
          <a:p>
            <a:pPr lvl="0"/>
            <a:r>
              <a:rPr lang="en-US"/>
              <a:t>GENERAL DIVIDER SUB HEADING | UPPERCASE ONLY | 18PT</a:t>
            </a:r>
          </a:p>
        </p:txBody>
      </p:sp>
      <p:pic>
        <p:nvPicPr>
          <p:cNvPr id="76" name="Picture 75"/>
          <p:cNvPicPr>
            <a:picLocks noChangeAspect="1"/>
          </p:cNvPicPr>
          <p:nvPr userDrawn="1"/>
        </p:nvPicPr>
        <p:blipFill rotWithShape="1">
          <a:blip r:embed="rId9" cstate="email">
            <a:alphaModFix amt="3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19861" y="0"/>
            <a:ext cx="2372139" cy="4802775"/>
          </a:xfrm>
          <a:prstGeom prst="rect">
            <a:avLst/>
          </a:prstGeom>
          <a:effectLst/>
        </p:spPr>
      </p:pic>
      <p:sp>
        <p:nvSpPr>
          <p:cNvPr id="96" name="Rectangle 95"/>
          <p:cNvSpPr/>
          <p:nvPr userDrawn="1"/>
        </p:nvSpPr>
        <p:spPr>
          <a:xfrm>
            <a:off x="0" y="4730154"/>
            <a:ext cx="12191999" cy="2826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97" name="Straight Connector 96"/>
          <p:cNvCxnSpPr/>
          <p:nvPr userDrawn="1"/>
        </p:nvCxnSpPr>
        <p:spPr>
          <a:xfrm>
            <a:off x="0" y="4715383"/>
            <a:ext cx="12191999" cy="0"/>
          </a:xfrm>
          <a:prstGeom prst="line">
            <a:avLst/>
          </a:prstGeom>
          <a:ln w="38100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8026857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Strategy Slide -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C1C7DF17-DA3C-48C3-9DA4-B3581C9447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C1C7DF17-DA3C-48C3-9DA4-B3581C9447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113ED5A2-EF0D-4D88-9E59-8326B064734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431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NTENTS PAGE/SLIDE WITH NUMBERS.</a:t>
            </a:r>
          </a:p>
        </p:txBody>
      </p:sp>
      <p:graphicFrame>
        <p:nvGraphicFramePr>
          <p:cNvPr id="12" name="Table 11"/>
          <p:cNvGraphicFramePr>
            <a:graphicFrameLocks noGrp="1"/>
          </p:cNvGraphicFramePr>
          <p:nvPr userDrawn="1"/>
        </p:nvGraphicFramePr>
        <p:xfrm>
          <a:off x="725212" y="1553302"/>
          <a:ext cx="10773104" cy="4246129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94488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243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INTRODUCTION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6254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FIRST TOPIC HER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  <a:endParaRPr lang="en-US" sz="1200" baseline="0">
                        <a:solidFill>
                          <a:schemeClr val="accent3"/>
                        </a:solidFill>
                      </a:endParaRP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Third Subject Heading Her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3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4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5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3682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SECOND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TOPIC HER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7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8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9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THIRD TOPIC HERE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0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FOURTH TOPIC HERE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62546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FIFTH TOPIC HERE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Third Subject Heading Her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8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19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20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21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SIXTH TOPIC HERE.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2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SEVENTH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TOPIC HER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4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7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45ED85-C121-4CA6-9C0F-F5FD0435769D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Sunday, October 19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471456393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Strategy Slide - Intro Para,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65552740-4228-4285-887F-AB772DF6F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65552740-4228-4285-887F-AB772DF6F5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5F91E1F3-2BEF-4354-937C-2864A86615A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NTRO PARAGRAPH WITH BULLET POINTS AND PICTURE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26231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A93812-1C99-4DA3-9F04-4BE0DDBB6E67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Sunday, October 19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42046252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. Strategy Slide - 3 Charts and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62E4A0BD-9236-4560-A764-035A2E194F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4297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62E4A0BD-9236-4560-A764-035A2E194F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EA18DB26-052D-48CF-8245-7E2537F0F96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1225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GRAPHS/CHART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D122E148-4626-4EB1-9503-8D8976A6FF55}" type="datetime2">
              <a:rPr lang="en-US" smtClean="0"/>
              <a:t>Sunday, October 19, 2025</a:t>
            </a:fld>
            <a:endParaRPr lang="en-US"/>
          </a:p>
        </p:txBody>
      </p:sp>
      <p:sp>
        <p:nvSpPr>
          <p:cNvPr id="40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4" y="1876657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6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4379234" y="1876657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37923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9" name="Chart Placeholder 4"/>
          <p:cNvSpPr>
            <a:spLocks noGrp="1"/>
          </p:cNvSpPr>
          <p:nvPr>
            <p:ph type="chart" sz="quarter" idx="18" hasCustomPrompt="1"/>
          </p:nvPr>
        </p:nvSpPr>
        <p:spPr>
          <a:xfrm>
            <a:off x="8046320" y="1876657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8046319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208547005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Strategy Slide - Intro Para, Bullets, 4 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F2899EAE-A1EF-4708-8F2F-C63ED0412F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F2899EAE-A1EF-4708-8F2F-C63ED0412F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03FE2C61-42A3-4EB6-A0AF-222167CA676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NTRO PARAGRAPH WITH BULLET POINTS AND 4 X PICTURES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1" y="15525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26231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37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9804400" y="15525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38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7550151" y="37623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39" name="Picture Placeholder 8"/>
          <p:cNvSpPr>
            <a:spLocks noGrp="1"/>
          </p:cNvSpPr>
          <p:nvPr>
            <p:ph type="pic" sz="quarter" idx="15" hasCustomPrompt="1"/>
          </p:nvPr>
        </p:nvSpPr>
        <p:spPr>
          <a:xfrm>
            <a:off x="9804400" y="37623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40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1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2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67CB4AF-90BF-432B-AE7E-BF2637A8162A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Sunday, October 19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64747764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 Strategy Slide - Large Bol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6A3F2D9-FAC1-4D18-8C97-DBDC768D02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6A3F2D9-FAC1-4D18-8C97-DBDC768D02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95A114C1-F623-4826-A9AE-014E3B65CF2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050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LARGE BOLD TEXT FOR CREATIVE INTEREST.</a:t>
            </a:r>
          </a:p>
        </p:txBody>
      </p:sp>
      <p:sp>
        <p:nvSpPr>
          <p:cNvPr id="44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799" y="1698045"/>
            <a:ext cx="10348785" cy="43800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4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C2952C7-C1DB-484D-A9ED-01AA716B942B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Sunday, October 19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596155533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 Strategy Slide - Large Bold 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C7B8557E-3425-4C56-B007-F68EA4279B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C7B8557E-3425-4C56-B007-F68EA4279B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EFCF03AE-A1B8-4191-A665-925EA962FBA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86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LARGE BOLD TEXT WITH PICTURE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75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799" y="1698045"/>
            <a:ext cx="6444347" cy="32050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s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</a:t>
            </a:r>
          </a:p>
        </p:txBody>
      </p:sp>
      <p:sp>
        <p:nvSpPr>
          <p:cNvPr id="7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5E5A679-65AF-46E8-997D-E3A26DFB4586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Sunday, October 19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409637860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 Strategy Slide - Numbered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1475CCC-25DD-4E5A-A479-08DE062B1C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1475CCC-25DD-4E5A-A479-08DE062B1C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DF9A9DBF-2E2C-4D76-B2FD-C0BC6BAE29E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47453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NUMBERED BULLET POINTS WITH DESCRIPTIONS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736571" y="1548820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| 01</a:t>
            </a:r>
          </a:p>
        </p:txBody>
      </p:sp>
      <p:sp>
        <p:nvSpPr>
          <p:cNvPr id="75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546783" y="1548820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4" y="2080519"/>
            <a:ext cx="5980386" cy="408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aseline="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76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36571" y="2678157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| 02</a:t>
            </a:r>
          </a:p>
        </p:txBody>
      </p:sp>
      <p:sp>
        <p:nvSpPr>
          <p:cNvPr id="77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546783" y="2678157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7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725214" y="3209856"/>
            <a:ext cx="5475889" cy="408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79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36571" y="3809511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| 03</a:t>
            </a:r>
          </a:p>
        </p:txBody>
      </p:sp>
      <p:sp>
        <p:nvSpPr>
          <p:cNvPr id="80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1546783" y="3809511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81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725214" y="4341210"/>
            <a:ext cx="5707117" cy="392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5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736571" y="4927598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| 04</a:t>
            </a:r>
          </a:p>
        </p:txBody>
      </p:sp>
      <p:sp>
        <p:nvSpPr>
          <p:cNvPr id="86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1546783" y="4927598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87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725214" y="5459297"/>
            <a:ext cx="5085527" cy="392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D11C14-1D90-4E49-861E-C07B5B047CC5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Sunday, October 19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154199162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 Strategy Slide - Icon/Symbol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4287AC9-49FF-42C4-9E2B-EFFCA46BA6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44287AC9-49FF-42C4-9E2B-EFFCA46BA6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0998EBE3-5450-473D-B6E8-C6CAF10357F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86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CON/SYMBOL BULLET POINTS WITH PICTURE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75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546782" y="1548820"/>
            <a:ext cx="5493795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4" hasCustomPrompt="1"/>
          </p:nvPr>
        </p:nvSpPr>
        <p:spPr>
          <a:xfrm>
            <a:off x="725213" y="1536239"/>
            <a:ext cx="726483" cy="584200"/>
          </a:xfrm>
          <a:prstGeom prst="rect">
            <a:avLst/>
          </a:prstGeom>
          <a:solidFill>
            <a:schemeClr val="accent3">
              <a:lumMod val="5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54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1546782" y="2362201"/>
            <a:ext cx="5751873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55" name="Picture Placeholder 5"/>
          <p:cNvSpPr>
            <a:spLocks noGrp="1"/>
          </p:cNvSpPr>
          <p:nvPr>
            <p:ph type="pic" sz="quarter" idx="26" hasCustomPrompt="1"/>
          </p:nvPr>
        </p:nvSpPr>
        <p:spPr>
          <a:xfrm>
            <a:off x="725213" y="2349620"/>
            <a:ext cx="726483" cy="584200"/>
          </a:xfrm>
          <a:prstGeom prst="rect">
            <a:avLst/>
          </a:prstGeom>
          <a:solidFill>
            <a:schemeClr val="accent3">
              <a:lumMod val="75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82" name="Text Placeholder 9"/>
          <p:cNvSpPr>
            <a:spLocks noGrp="1"/>
          </p:cNvSpPr>
          <p:nvPr>
            <p:ph type="body" sz="quarter" idx="27" hasCustomPrompt="1"/>
          </p:nvPr>
        </p:nvSpPr>
        <p:spPr>
          <a:xfrm>
            <a:off x="1546783" y="3191126"/>
            <a:ext cx="4801368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3" name="Picture Placeholder 5"/>
          <p:cNvSpPr>
            <a:spLocks noGrp="1"/>
          </p:cNvSpPr>
          <p:nvPr>
            <p:ph type="pic" sz="quarter" idx="28" hasCustomPrompt="1"/>
          </p:nvPr>
        </p:nvSpPr>
        <p:spPr>
          <a:xfrm>
            <a:off x="725213" y="3178545"/>
            <a:ext cx="726483" cy="584200"/>
          </a:xfrm>
          <a:prstGeom prst="rect">
            <a:avLst/>
          </a:prstGeom>
          <a:solidFill>
            <a:schemeClr val="accent3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84" name="Text Placeholder 9"/>
          <p:cNvSpPr>
            <a:spLocks noGrp="1"/>
          </p:cNvSpPr>
          <p:nvPr>
            <p:ph type="body" sz="quarter" idx="29" hasCustomPrompt="1"/>
          </p:nvPr>
        </p:nvSpPr>
        <p:spPr>
          <a:xfrm>
            <a:off x="1546783" y="4034623"/>
            <a:ext cx="5493794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br>
              <a:rPr lang="en-US"/>
            </a:b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8" name="Picture Placeholder 5"/>
          <p:cNvSpPr>
            <a:spLocks noGrp="1"/>
          </p:cNvSpPr>
          <p:nvPr>
            <p:ph type="pic" sz="quarter" idx="30" hasCustomPrompt="1"/>
          </p:nvPr>
        </p:nvSpPr>
        <p:spPr>
          <a:xfrm>
            <a:off x="725213" y="4022042"/>
            <a:ext cx="726483" cy="584200"/>
          </a:xfrm>
          <a:prstGeom prst="rect">
            <a:avLst/>
          </a:prstGeom>
          <a:solidFill>
            <a:schemeClr val="tx1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93" name="Text Placeholder 9"/>
          <p:cNvSpPr>
            <a:spLocks noGrp="1"/>
          </p:cNvSpPr>
          <p:nvPr>
            <p:ph type="body" sz="quarter" idx="31" hasCustomPrompt="1"/>
          </p:nvPr>
        </p:nvSpPr>
        <p:spPr>
          <a:xfrm>
            <a:off x="1546783" y="4874167"/>
            <a:ext cx="5863010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94" name="Picture Placeholder 5"/>
          <p:cNvSpPr>
            <a:spLocks noGrp="1"/>
          </p:cNvSpPr>
          <p:nvPr>
            <p:ph type="pic" sz="quarter" idx="32" hasCustomPrompt="1"/>
          </p:nvPr>
        </p:nvSpPr>
        <p:spPr>
          <a:xfrm>
            <a:off x="725213" y="4861586"/>
            <a:ext cx="726483" cy="584200"/>
          </a:xfrm>
          <a:prstGeom prst="rect">
            <a:avLst/>
          </a:prstGeom>
          <a:solidFill>
            <a:schemeClr val="tx2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9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55A82DC-71FF-4B7D-BDCE-824A3FE355FE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Sunday, October 19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583417880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 Strategy Slide - 5 Circle Icon/Symbol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AA60490-AFBD-4A8C-89FB-A49BAD6482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AA60490-AFBD-4A8C-89FB-A49BAD648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49DCABD1-BEAA-4EEC-924B-C9FBB23FEA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cxnSp>
        <p:nvCxnSpPr>
          <p:cNvPr id="92" name="Straight Connector 91"/>
          <p:cNvCxnSpPr/>
          <p:nvPr userDrawn="1"/>
        </p:nvCxnSpPr>
        <p:spPr>
          <a:xfrm>
            <a:off x="2069538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/>
          <p:cNvCxnSpPr/>
          <p:nvPr userDrawn="1"/>
        </p:nvCxnSpPr>
        <p:spPr>
          <a:xfrm>
            <a:off x="4054400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1750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FIVE CIRCLE ICON/SYMBOLS WITH BULLET POINTS.</a:t>
            </a:r>
          </a:p>
        </p:txBody>
      </p:sp>
      <p:sp>
        <p:nvSpPr>
          <p:cNvPr id="80" name="Oval 79"/>
          <p:cNvSpPr/>
          <p:nvPr userDrawn="1"/>
        </p:nvSpPr>
        <p:spPr>
          <a:xfrm>
            <a:off x="1401475" y="1653167"/>
            <a:ext cx="1341345" cy="1341345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5" name="TextBox 84"/>
          <p:cNvSpPr txBox="1"/>
          <p:nvPr userDrawn="1"/>
        </p:nvSpPr>
        <p:spPr>
          <a:xfrm>
            <a:off x="1636402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1</a:t>
            </a:r>
          </a:p>
        </p:txBody>
      </p:sp>
      <p:pic>
        <p:nvPicPr>
          <p:cNvPr id="86" name="Picture 85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7578" y="2424127"/>
            <a:ext cx="575529" cy="383686"/>
          </a:xfrm>
          <a:prstGeom prst="rect">
            <a:avLst/>
          </a:prstGeom>
        </p:spPr>
      </p:pic>
      <p:sp>
        <p:nvSpPr>
          <p:cNvPr id="10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1232815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106E273-2F29-4664-B35A-DBD08D962A48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Sunday, October 19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6" name="Oval 105"/>
          <p:cNvSpPr/>
          <p:nvPr userDrawn="1"/>
        </p:nvSpPr>
        <p:spPr>
          <a:xfrm>
            <a:off x="3386337" y="1653167"/>
            <a:ext cx="1341345" cy="1341345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7" name="TextBox 106"/>
          <p:cNvSpPr txBox="1"/>
          <p:nvPr userDrawn="1"/>
        </p:nvSpPr>
        <p:spPr>
          <a:xfrm>
            <a:off x="3621264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2</a:t>
            </a:r>
          </a:p>
        </p:txBody>
      </p:sp>
      <p:sp>
        <p:nvSpPr>
          <p:cNvPr id="111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217677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99" name="Picture 98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15852" y="2409762"/>
            <a:ext cx="277095" cy="512721"/>
          </a:xfrm>
          <a:prstGeom prst="rect">
            <a:avLst/>
          </a:prstGeom>
        </p:spPr>
      </p:pic>
      <p:cxnSp>
        <p:nvCxnSpPr>
          <p:cNvPr id="112" name="Straight Connector 111"/>
          <p:cNvCxnSpPr/>
          <p:nvPr userDrawn="1"/>
        </p:nvCxnSpPr>
        <p:spPr>
          <a:xfrm>
            <a:off x="6044322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Oval 112"/>
          <p:cNvSpPr/>
          <p:nvPr userDrawn="1"/>
        </p:nvSpPr>
        <p:spPr>
          <a:xfrm>
            <a:off x="5376259" y="1653167"/>
            <a:ext cx="1341345" cy="1341345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4" name="TextBox 113"/>
          <p:cNvSpPr txBox="1"/>
          <p:nvPr userDrawn="1"/>
        </p:nvSpPr>
        <p:spPr>
          <a:xfrm>
            <a:off x="5611186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3</a:t>
            </a:r>
          </a:p>
        </p:txBody>
      </p:sp>
      <p:sp>
        <p:nvSpPr>
          <p:cNvPr id="11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207599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98" name="Picture 97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75509" y="2370311"/>
            <a:ext cx="537625" cy="472590"/>
          </a:xfrm>
          <a:prstGeom prst="rect">
            <a:avLst/>
          </a:prstGeom>
        </p:spPr>
      </p:pic>
      <p:cxnSp>
        <p:nvCxnSpPr>
          <p:cNvPr id="118" name="Straight Connector 117"/>
          <p:cNvCxnSpPr/>
          <p:nvPr userDrawn="1"/>
        </p:nvCxnSpPr>
        <p:spPr>
          <a:xfrm>
            <a:off x="8017846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Oval 118"/>
          <p:cNvSpPr/>
          <p:nvPr userDrawn="1"/>
        </p:nvSpPr>
        <p:spPr>
          <a:xfrm>
            <a:off x="7349783" y="1653167"/>
            <a:ext cx="1341345" cy="1341345"/>
          </a:xfrm>
          <a:prstGeom prst="ellipse">
            <a:avLst/>
          </a:prstGeom>
          <a:solidFill>
            <a:schemeClr val="tx1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0" name="TextBox 119"/>
          <p:cNvSpPr txBox="1"/>
          <p:nvPr userDrawn="1"/>
        </p:nvSpPr>
        <p:spPr>
          <a:xfrm>
            <a:off x="7584710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4</a:t>
            </a:r>
          </a:p>
        </p:txBody>
      </p:sp>
      <p:sp>
        <p:nvSpPr>
          <p:cNvPr id="122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181123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100" name="Picture 99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1756" y="2406174"/>
            <a:ext cx="432179" cy="410414"/>
          </a:xfrm>
          <a:prstGeom prst="rect">
            <a:avLst/>
          </a:prstGeom>
        </p:spPr>
      </p:pic>
      <p:cxnSp>
        <p:nvCxnSpPr>
          <p:cNvPr id="124" name="Straight Connector 123"/>
          <p:cNvCxnSpPr/>
          <p:nvPr userDrawn="1"/>
        </p:nvCxnSpPr>
        <p:spPr>
          <a:xfrm>
            <a:off x="9988760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Oval 124"/>
          <p:cNvSpPr/>
          <p:nvPr userDrawn="1"/>
        </p:nvSpPr>
        <p:spPr>
          <a:xfrm>
            <a:off x="9320697" y="1653167"/>
            <a:ext cx="1341345" cy="1341345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6" name="TextBox 125"/>
          <p:cNvSpPr txBox="1"/>
          <p:nvPr userDrawn="1"/>
        </p:nvSpPr>
        <p:spPr>
          <a:xfrm>
            <a:off x="9555624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5</a:t>
            </a:r>
          </a:p>
        </p:txBody>
      </p:sp>
      <p:sp>
        <p:nvSpPr>
          <p:cNvPr id="12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52037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130" name="Picture 129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0669" y="2430632"/>
            <a:ext cx="596182" cy="340676"/>
          </a:xfrm>
          <a:prstGeom prst="rect">
            <a:avLst/>
          </a:prstGeom>
        </p:spPr>
      </p:pic>
      <p:sp>
        <p:nvSpPr>
          <p:cNvPr id="42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1232815" y="3524598"/>
            <a:ext cx="1672617" cy="396240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PEOPLE</a:t>
            </a:r>
          </a:p>
        </p:txBody>
      </p:sp>
      <p:sp>
        <p:nvSpPr>
          <p:cNvPr id="43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3215559" y="3524598"/>
            <a:ext cx="1672617" cy="396240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PLACE</a:t>
            </a:r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5208012" y="3524598"/>
            <a:ext cx="1672617" cy="396240"/>
          </a:xfrm>
          <a:prstGeom prst="rect">
            <a:avLst/>
          </a:prstGeo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TIME</a:t>
            </a:r>
          </a:p>
        </p:txBody>
      </p:sp>
      <p:sp>
        <p:nvSpPr>
          <p:cNvPr id="45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7176317" y="3524598"/>
            <a:ext cx="1672617" cy="396240"/>
          </a:xfrm>
          <a:prstGeom prst="rect">
            <a:avLst/>
          </a:prstGeo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RESULTS</a:t>
            </a:r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28" hasCustomPrompt="1"/>
          </p:nvPr>
        </p:nvSpPr>
        <p:spPr>
          <a:xfrm>
            <a:off x="9144622" y="3524598"/>
            <a:ext cx="1672617" cy="396240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FUTURE</a:t>
            </a:r>
          </a:p>
        </p:txBody>
      </p:sp>
      <p:sp>
        <p:nvSpPr>
          <p:cNvPr id="3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554773211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. Strategy Slide - 3 Numbered Boxes with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112838E-A9A3-429F-9DAF-B1CB53B26D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112838E-A9A3-429F-9DAF-B1CB53B26D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EC6C8472-1441-4E04-8D06-5FFE59E7071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58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NUMBERED BOXES WITH TEXT/BULLET POINTS.</a:t>
            </a:r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A174AE-BB7A-4AB0-9DF5-4628D606C30C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Sunday, October 19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304418" y="2323839"/>
            <a:ext cx="2737494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073149" y="1933792"/>
            <a:ext cx="2968763" cy="323086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841881" y="1850814"/>
            <a:ext cx="462537" cy="4625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841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923918" y="2323839"/>
            <a:ext cx="2737494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49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4692649" y="1933792"/>
            <a:ext cx="2968763" cy="323086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4461381" y="1850814"/>
            <a:ext cx="462537" cy="462537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1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4613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543418" y="2323839"/>
            <a:ext cx="2737494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55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8312149" y="1933792"/>
            <a:ext cx="2968763" cy="323086"/>
          </a:xfrm>
          <a:prstGeom prst="rect">
            <a:avLst/>
          </a:prstGeom>
          <a:solidFill>
            <a:schemeClr val="accent3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6" name="Oval 55"/>
          <p:cNvSpPr/>
          <p:nvPr userDrawn="1"/>
        </p:nvSpPr>
        <p:spPr>
          <a:xfrm>
            <a:off x="8080881" y="1850814"/>
            <a:ext cx="462537" cy="46253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7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8080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397114821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 Strategy Slide - 6 Numbered Boxes with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A6332E3-50CE-44E3-83B9-01CBCE3225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A6332E3-50CE-44E3-83B9-01CBCE3225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029B26ED-7F28-492C-9DAD-E29F57B801D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431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NUMBERED BOXES WITH TEXT.</a:t>
            </a:r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115123-D0E3-4220-9403-740338092D61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Sunday, October 19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304418" y="23238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.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073149" y="1933792"/>
            <a:ext cx="2968763" cy="323086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841881" y="1850814"/>
            <a:ext cx="462537" cy="4625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841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923918" y="23238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</a:t>
            </a:r>
            <a:endParaRPr lang="en-US"/>
          </a:p>
        </p:txBody>
      </p:sp>
      <p:sp>
        <p:nvSpPr>
          <p:cNvPr id="49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4692649" y="1933792"/>
            <a:ext cx="2968763" cy="323086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4461381" y="1850814"/>
            <a:ext cx="462537" cy="462537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1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4613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543418" y="23238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55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8312149" y="1933792"/>
            <a:ext cx="2968763" cy="323086"/>
          </a:xfrm>
          <a:prstGeom prst="rect">
            <a:avLst/>
          </a:prstGeom>
          <a:solidFill>
            <a:schemeClr val="accent3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6" name="Oval 55"/>
          <p:cNvSpPr/>
          <p:nvPr userDrawn="1"/>
        </p:nvSpPr>
        <p:spPr>
          <a:xfrm>
            <a:off x="8080881" y="1850814"/>
            <a:ext cx="462537" cy="46253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7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8080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1304418" y="45590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</a:t>
            </a:r>
            <a:endParaRPr lang="en-US"/>
          </a:p>
        </p:txBody>
      </p:sp>
      <p:sp>
        <p:nvSpPr>
          <p:cNvPr id="22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1073149" y="4168992"/>
            <a:ext cx="2968763" cy="323086"/>
          </a:xfrm>
          <a:prstGeom prst="rect">
            <a:avLst/>
          </a:prstGeom>
          <a:solidFill>
            <a:schemeClr val="accent3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23" name="Oval 22"/>
          <p:cNvSpPr/>
          <p:nvPr userDrawn="1"/>
        </p:nvSpPr>
        <p:spPr>
          <a:xfrm>
            <a:off x="841881" y="4086014"/>
            <a:ext cx="462537" cy="46253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841881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4923918" y="45590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4692649" y="4168992"/>
            <a:ext cx="2968763" cy="323086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27" name="Oval 26"/>
          <p:cNvSpPr/>
          <p:nvPr userDrawn="1"/>
        </p:nvSpPr>
        <p:spPr>
          <a:xfrm>
            <a:off x="4461381" y="4086014"/>
            <a:ext cx="462537" cy="462537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Text Placeholder 10"/>
          <p:cNvSpPr>
            <a:spLocks noGrp="1"/>
          </p:cNvSpPr>
          <p:nvPr>
            <p:ph type="body" sz="quarter" idx="29" hasCustomPrompt="1"/>
          </p:nvPr>
        </p:nvSpPr>
        <p:spPr>
          <a:xfrm>
            <a:off x="4461381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30" hasCustomPrompt="1"/>
          </p:nvPr>
        </p:nvSpPr>
        <p:spPr>
          <a:xfrm>
            <a:off x="8543418" y="45590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.</a:t>
            </a:r>
          </a:p>
        </p:txBody>
      </p:sp>
      <p:sp>
        <p:nvSpPr>
          <p:cNvPr id="30" name="Text Placeholder 8"/>
          <p:cNvSpPr>
            <a:spLocks noGrp="1"/>
          </p:cNvSpPr>
          <p:nvPr>
            <p:ph type="body" sz="quarter" idx="31" hasCustomPrompt="1"/>
          </p:nvPr>
        </p:nvSpPr>
        <p:spPr>
          <a:xfrm>
            <a:off x="8312149" y="4168992"/>
            <a:ext cx="2968763" cy="323086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31" name="Oval 30"/>
          <p:cNvSpPr/>
          <p:nvPr userDrawn="1"/>
        </p:nvSpPr>
        <p:spPr>
          <a:xfrm>
            <a:off x="8080881" y="4086014"/>
            <a:ext cx="462537" cy="4625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Text Placeholder 10"/>
          <p:cNvSpPr>
            <a:spLocks noGrp="1"/>
          </p:cNvSpPr>
          <p:nvPr>
            <p:ph type="body" sz="quarter" idx="32" hasCustomPrompt="1"/>
          </p:nvPr>
        </p:nvSpPr>
        <p:spPr>
          <a:xfrm>
            <a:off x="8080881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3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55171802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 Strategy Slide - Intro Text, Bullets and On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671C392B-9772-4449-B274-C8F019BF84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671C392B-9772-4449-B274-C8F019BF84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26E74A4A-0F3E-4A8E-B0F4-620BE8F88A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548877" y="1568107"/>
            <a:ext cx="4324035" cy="4411663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ONE GRAPH/CHART AND TEXT</a:t>
            </a:r>
          </a:p>
        </p:txBody>
      </p:sp>
      <p:sp>
        <p:nvSpPr>
          <p:cNvPr id="4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46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64692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C9E8CB-5A95-472E-ADEA-E9D08E09214D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Sunday, October 19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491173506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. Strategy Slide - 2 Charts and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C864BA00-0CA2-427F-BFA8-D5F899DEBB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C864BA00-0CA2-427F-BFA8-D5F899DEBB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6105DD77-FB08-49F6-A436-E8CD9C941F4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WO GRAPHS/CHARTS AND TEXT</a:t>
            </a:r>
          </a:p>
        </p:txBody>
      </p:sp>
      <p:sp>
        <p:nvSpPr>
          <p:cNvPr id="3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081A10D-3708-4E36-B916-C061A4726F31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Sunday, October 19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4" y="1876657"/>
            <a:ext cx="5116786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45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6198550" y="1876657"/>
            <a:ext cx="5116786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198549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198550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12806829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. Strategy Slide - 6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594DDD6B-56B7-4BF5-B401-0BE44C4C18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18391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594DDD6B-56B7-4BF5-B401-0BE44C4C18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F61879BC-2A52-426E-B20E-85F088398DF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2362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GRAPHS/CHART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20C84D6B-3917-45C9-A0A3-F1D4498C21C6}" type="datetime2">
              <a:rPr lang="en-US" smtClean="0"/>
              <a:t>Sunday, October 19, 2025</a:t>
            </a:fld>
            <a:endParaRPr lang="en-US"/>
          </a:p>
        </p:txBody>
      </p:sp>
      <p:sp>
        <p:nvSpPr>
          <p:cNvPr id="40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4" y="1876658"/>
            <a:ext cx="3167517" cy="16417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6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4379234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9" name="Chart Placeholder 4"/>
          <p:cNvSpPr>
            <a:spLocks noGrp="1"/>
          </p:cNvSpPr>
          <p:nvPr>
            <p:ph type="chart" sz="quarter" idx="18" hasCustomPrompt="1"/>
          </p:nvPr>
        </p:nvSpPr>
        <p:spPr>
          <a:xfrm>
            <a:off x="8046320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8" name="Chart Placeholder 4"/>
          <p:cNvSpPr>
            <a:spLocks noGrp="1"/>
          </p:cNvSpPr>
          <p:nvPr>
            <p:ph type="chart" sz="quarter" idx="21" hasCustomPrompt="1"/>
          </p:nvPr>
        </p:nvSpPr>
        <p:spPr>
          <a:xfrm>
            <a:off x="725214" y="4293286"/>
            <a:ext cx="3167517" cy="16417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72521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23" hasCustomPrompt="1"/>
          </p:nvPr>
        </p:nvSpPr>
        <p:spPr>
          <a:xfrm>
            <a:off x="4379234" y="429328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7923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2" name="Chart Placeholder 4"/>
          <p:cNvSpPr>
            <a:spLocks noGrp="1"/>
          </p:cNvSpPr>
          <p:nvPr>
            <p:ph type="chart" sz="quarter" idx="25" hasCustomPrompt="1"/>
          </p:nvPr>
        </p:nvSpPr>
        <p:spPr>
          <a:xfrm>
            <a:off x="8046320" y="429328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8046320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725214" y="3735977"/>
            <a:ext cx="10488623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406810208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. Strategy Slide - 3 Charts and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62E4A0BD-9236-4560-A764-035A2E194F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62E4A0BD-9236-4560-A764-035A2E194F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EA18DB26-052D-48CF-8245-7E2537F0F96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1225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GRAPHS/CHART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22E148-4626-4EB1-9503-8D8976A6FF55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Sunday, October 19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4" y="1876657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6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4379234" y="1876657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37923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9" name="Chart Placeholder 4"/>
          <p:cNvSpPr>
            <a:spLocks noGrp="1"/>
          </p:cNvSpPr>
          <p:nvPr>
            <p:ph type="chart" sz="quarter" idx="18" hasCustomPrompt="1"/>
          </p:nvPr>
        </p:nvSpPr>
        <p:spPr>
          <a:xfrm>
            <a:off x="8046320" y="1876657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8046319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058942319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. Strategy Slide - 6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594DDD6B-56B7-4BF5-B401-0BE44C4C18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594DDD6B-56B7-4BF5-B401-0BE44C4C18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F61879BC-2A52-426E-B20E-85F088398DF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2362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GRAPHS/CHART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84D6B-3917-45C9-A0A3-F1D4498C21C6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Sunday, October 19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4" y="1876658"/>
            <a:ext cx="3167517" cy="16417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6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4379234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9" name="Chart Placeholder 4"/>
          <p:cNvSpPr>
            <a:spLocks noGrp="1"/>
          </p:cNvSpPr>
          <p:nvPr>
            <p:ph type="chart" sz="quarter" idx="18" hasCustomPrompt="1"/>
          </p:nvPr>
        </p:nvSpPr>
        <p:spPr>
          <a:xfrm>
            <a:off x="8046320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8" name="Chart Placeholder 4"/>
          <p:cNvSpPr>
            <a:spLocks noGrp="1"/>
          </p:cNvSpPr>
          <p:nvPr>
            <p:ph type="chart" sz="quarter" idx="21" hasCustomPrompt="1"/>
          </p:nvPr>
        </p:nvSpPr>
        <p:spPr>
          <a:xfrm>
            <a:off x="725214" y="4293286"/>
            <a:ext cx="3167517" cy="16417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72521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23" hasCustomPrompt="1"/>
          </p:nvPr>
        </p:nvSpPr>
        <p:spPr>
          <a:xfrm>
            <a:off x="4379234" y="429328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7923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2" name="Chart Placeholder 4"/>
          <p:cNvSpPr>
            <a:spLocks noGrp="1"/>
          </p:cNvSpPr>
          <p:nvPr>
            <p:ph type="chart" sz="quarter" idx="25" hasCustomPrompt="1"/>
          </p:nvPr>
        </p:nvSpPr>
        <p:spPr>
          <a:xfrm>
            <a:off x="8046320" y="429328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8046320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725214" y="3735977"/>
            <a:ext cx="10488623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45677607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. Strategy Slide - Table 9 Rows /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F3115B7E-4A1F-4068-94A8-022DF01919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416" imgH="416" progId="TCLayout.ActiveDocument.1">
                  <p:embed/>
                </p:oleObj>
              </mc:Choice>
              <mc:Fallback>
                <p:oleObj name="Diapositiva de think-cell" r:id="rId5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F3115B7E-4A1F-4068-94A8-022DF01919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CD5BEB3D-5E62-49D0-934F-D286C65AED6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349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ABLE 9 ROWS AND 9 COLUMNS</a:t>
            </a:r>
          </a:p>
        </p:txBody>
      </p:sp>
      <p:graphicFrame>
        <p:nvGraphicFramePr>
          <p:cNvPr id="33" name="Group 3"/>
          <p:cNvGraphicFramePr>
            <a:graphicFrameLocks/>
          </p:cNvGraphicFramePr>
          <p:nvPr userDrawn="1">
            <p:custDataLst>
              <p:tags r:id="rId3"/>
            </p:custDataLst>
          </p:nvPr>
        </p:nvGraphicFramePr>
        <p:xfrm>
          <a:off x="783770" y="1534944"/>
          <a:ext cx="10377812" cy="4317034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16969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33161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1" i="0" u="none" strike="noStrike" kern="1200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34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0C52EB-0F95-46A6-A8EB-EC0398BE66B2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Sunday, October 19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97677969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. Strategy Slide - Table 4 Rows /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E879D304-3645-4A8A-A35F-4B024430F4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416" imgH="416" progId="TCLayout.ActiveDocument.1">
                  <p:embed/>
                </p:oleObj>
              </mc:Choice>
              <mc:Fallback>
                <p:oleObj name="Diapositiva de think-cell" r:id="rId5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E879D304-3645-4A8A-A35F-4B024430F4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5EAFE1C7-DBDD-47B0-A3D2-F2F9F7AD560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2511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ABLE 3 COLUMNS 4 ROWS</a:t>
            </a:r>
          </a:p>
        </p:txBody>
      </p:sp>
      <p:graphicFrame>
        <p:nvGraphicFramePr>
          <p:cNvPr id="34" name="Group 4"/>
          <p:cNvGraphicFramePr>
            <a:graphicFrameLocks noGrp="1"/>
          </p:cNvGraphicFramePr>
          <p:nvPr userDrawn="1">
            <p:custDataLst>
              <p:tags r:id="rId3"/>
            </p:custDataLst>
          </p:nvPr>
        </p:nvGraphicFramePr>
        <p:xfrm>
          <a:off x="954157" y="1584125"/>
          <a:ext cx="10207427" cy="4260849"/>
        </p:xfrm>
        <a:graphic>
          <a:graphicData uri="http://schemas.openxmlformats.org/drawingml/2006/table">
            <a:tbl>
              <a:tblPr/>
              <a:tblGrid>
                <a:gridCol w="11565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169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169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169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1942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endParaRPr kumimoji="0" lang="en-US" sz="1100" b="0" i="1" u="none" strike="noStrike" cap="none" normalizeH="0" baseline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</a:endParaRP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71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..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9141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2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9383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3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8898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4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61E237-91CC-407C-BFC7-3B142DD1CA7B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Sunday, October 19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406365657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. Strategy Slide - 1 Tab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EC870B3-50A2-46BE-AA7B-4A936D9F10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EC870B3-50A2-46BE-AA7B-4A936D9F10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20DBCFD6-6AB0-446C-ABE3-7A9D917775F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4" hasCustomPrompt="1"/>
          </p:nvPr>
        </p:nvSpPr>
        <p:spPr>
          <a:xfrm>
            <a:off x="7547605" y="1568107"/>
            <a:ext cx="4325307" cy="441166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2033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ONE TABLE AND TEXT</a:t>
            </a:r>
          </a:p>
        </p:txBody>
      </p:sp>
      <p:sp>
        <p:nvSpPr>
          <p:cNvPr id="4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46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64692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3F9B7A-BF56-489E-82C1-58AE830A8B0E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Sunday, October 19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311068352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. Strategy Slide - 2 Tabl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38326FD8-10A6-48A9-BAFF-C691458C18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38326FD8-10A6-48A9-BAFF-C691458C18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10934FCA-74B9-4B28-ACD0-8909FD502F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WO TABLES AND TEXT</a:t>
            </a:r>
          </a:p>
        </p:txBody>
      </p:sp>
      <p:sp>
        <p:nvSpPr>
          <p:cNvPr id="3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B5ECCD-BB21-4DEF-8FA9-1EDB0D32C5D5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Sunday, October 19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4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198549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198550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15" name="Table Placeholder 5"/>
          <p:cNvSpPr>
            <a:spLocks noGrp="1"/>
          </p:cNvSpPr>
          <p:nvPr>
            <p:ph type="tbl" sz="quarter" idx="21" hasCustomPrompt="1"/>
          </p:nvPr>
        </p:nvSpPr>
        <p:spPr>
          <a:xfrm>
            <a:off x="725213" y="1876657"/>
            <a:ext cx="511678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6" name="Table Placeholder 5"/>
          <p:cNvSpPr>
            <a:spLocks noGrp="1"/>
          </p:cNvSpPr>
          <p:nvPr>
            <p:ph type="tbl" sz="quarter" idx="22" hasCustomPrompt="1"/>
          </p:nvPr>
        </p:nvSpPr>
        <p:spPr>
          <a:xfrm>
            <a:off x="6198548" y="1876657"/>
            <a:ext cx="511678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357621696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. Strategy Slide - 3 Tabl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0F003DE-FE9D-4ABD-A7B3-2652A1F34C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40F003DE-FE9D-4ABD-A7B3-2652A1F34C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118D3152-AE5F-4DB1-B0FA-38D86D0CF73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TABLE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C73CD1-7D68-4F7C-A569-80378087C3A1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Sunday, October 19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37923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8046319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8" name="Table Placeholder 5"/>
          <p:cNvSpPr>
            <a:spLocks noGrp="1"/>
          </p:cNvSpPr>
          <p:nvPr>
            <p:ph type="tbl" sz="quarter" idx="21" hasCustomPrompt="1"/>
          </p:nvPr>
        </p:nvSpPr>
        <p:spPr>
          <a:xfrm>
            <a:off x="725213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9" name="Table Placeholder 5"/>
          <p:cNvSpPr>
            <a:spLocks noGrp="1"/>
          </p:cNvSpPr>
          <p:nvPr>
            <p:ph type="tbl" sz="quarter" idx="22" hasCustomPrompt="1"/>
          </p:nvPr>
        </p:nvSpPr>
        <p:spPr>
          <a:xfrm>
            <a:off x="4379232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0" name="Table Placeholder 5"/>
          <p:cNvSpPr>
            <a:spLocks noGrp="1"/>
          </p:cNvSpPr>
          <p:nvPr>
            <p:ph type="tbl" sz="quarter" idx="23" hasCustomPrompt="1"/>
          </p:nvPr>
        </p:nvSpPr>
        <p:spPr>
          <a:xfrm>
            <a:off x="8033882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993913565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. Strategy Slide - 6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C665559F-26E3-4E68-91A4-C0766AD4AC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C665559F-26E3-4E68-91A4-C0766AD4AC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BF262311-8DB3-40D8-A862-1E2F520E5D4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67971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TABLES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A9AF74-464C-4061-A12E-620A6602F3E4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Sunday, October 19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72521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7923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8046320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725214" y="3735977"/>
            <a:ext cx="10488623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able Placeholder 5"/>
          <p:cNvSpPr>
            <a:spLocks noGrp="1"/>
          </p:cNvSpPr>
          <p:nvPr>
            <p:ph type="tbl" sz="quarter" idx="27" hasCustomPrompt="1"/>
          </p:nvPr>
        </p:nvSpPr>
        <p:spPr>
          <a:xfrm>
            <a:off x="725213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5" name="Table Placeholder 5"/>
          <p:cNvSpPr>
            <a:spLocks noGrp="1"/>
          </p:cNvSpPr>
          <p:nvPr>
            <p:ph type="tbl" sz="quarter" idx="28" hasCustomPrompt="1"/>
          </p:nvPr>
        </p:nvSpPr>
        <p:spPr>
          <a:xfrm>
            <a:off x="4379233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6" name="Table Placeholder 5"/>
          <p:cNvSpPr>
            <a:spLocks noGrp="1"/>
          </p:cNvSpPr>
          <p:nvPr>
            <p:ph type="tbl" sz="quarter" idx="29" hasCustomPrompt="1"/>
          </p:nvPr>
        </p:nvSpPr>
        <p:spPr>
          <a:xfrm>
            <a:off x="8046320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7" name="Table Placeholder 5"/>
          <p:cNvSpPr>
            <a:spLocks noGrp="1"/>
          </p:cNvSpPr>
          <p:nvPr>
            <p:ph type="tbl" sz="quarter" idx="30" hasCustomPrompt="1"/>
          </p:nvPr>
        </p:nvSpPr>
        <p:spPr>
          <a:xfrm>
            <a:off x="725213" y="430180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8" name="Table Placeholder 5"/>
          <p:cNvSpPr>
            <a:spLocks noGrp="1"/>
          </p:cNvSpPr>
          <p:nvPr>
            <p:ph type="tbl" sz="quarter" idx="31" hasCustomPrompt="1"/>
          </p:nvPr>
        </p:nvSpPr>
        <p:spPr>
          <a:xfrm>
            <a:off x="4379233" y="430180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9" name="Table Placeholder 5"/>
          <p:cNvSpPr>
            <a:spLocks noGrp="1"/>
          </p:cNvSpPr>
          <p:nvPr>
            <p:ph type="tbl" sz="quarter" idx="32" hasCustomPrompt="1"/>
          </p:nvPr>
        </p:nvSpPr>
        <p:spPr>
          <a:xfrm>
            <a:off x="8046320" y="430180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859617493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. Strategy Slide - Process Closed Lo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AC899918-A378-45FD-8700-4E2340C899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AC899918-A378-45FD-8700-4E2340C899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9A197265-B4C3-4B35-9F5E-E038ABA274E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472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PROCESS CLOSED LOOP WITH INTRO TEXT AND BULLETS</a:t>
            </a:r>
          </a:p>
        </p:txBody>
      </p:sp>
      <p:grpSp>
        <p:nvGrpSpPr>
          <p:cNvPr id="33" name="Group 32"/>
          <p:cNvGrpSpPr/>
          <p:nvPr userDrawn="1"/>
        </p:nvGrpSpPr>
        <p:grpSpPr>
          <a:xfrm>
            <a:off x="6152742" y="1530826"/>
            <a:ext cx="5205413" cy="4535487"/>
            <a:chOff x="1905000" y="1773238"/>
            <a:chExt cx="5205413" cy="4535487"/>
          </a:xfrm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34" name="Freeform 33"/>
            <p:cNvSpPr>
              <a:spLocks/>
            </p:cNvSpPr>
            <p:nvPr/>
          </p:nvSpPr>
          <p:spPr bwMode="blackWhite">
            <a:xfrm>
              <a:off x="5729288" y="3216275"/>
              <a:ext cx="1381125" cy="1874838"/>
            </a:xfrm>
            <a:custGeom>
              <a:avLst/>
              <a:gdLst>
                <a:gd name="T0" fmla="*/ 461616 w 852"/>
                <a:gd name="T1" fmla="*/ 1873218 h 1157"/>
                <a:gd name="T2" fmla="*/ 1493670 w 852"/>
                <a:gd name="T3" fmla="*/ 1852152 h 1157"/>
                <a:gd name="T4" fmla="*/ 1172469 w 852"/>
                <a:gd name="T5" fmla="*/ 1672284 h 1157"/>
                <a:gd name="T6" fmla="*/ 1233901 w 852"/>
                <a:gd name="T7" fmla="*/ 1552372 h 1157"/>
                <a:gd name="T8" fmla="*/ 1286557 w 852"/>
                <a:gd name="T9" fmla="*/ 1429219 h 1157"/>
                <a:gd name="T10" fmla="*/ 1330437 w 852"/>
                <a:gd name="T11" fmla="*/ 1302826 h 1157"/>
                <a:gd name="T12" fmla="*/ 1360275 w 852"/>
                <a:gd name="T13" fmla="*/ 1171571 h 1157"/>
                <a:gd name="T14" fmla="*/ 1386603 w 852"/>
                <a:gd name="T15" fmla="*/ 1040316 h 1157"/>
                <a:gd name="T16" fmla="*/ 1400645 w 852"/>
                <a:gd name="T17" fmla="*/ 909061 h 1157"/>
                <a:gd name="T18" fmla="*/ 1405910 w 852"/>
                <a:gd name="T19" fmla="*/ 774566 h 1157"/>
                <a:gd name="T20" fmla="*/ 1400645 w 852"/>
                <a:gd name="T21" fmla="*/ 640070 h 1157"/>
                <a:gd name="T22" fmla="*/ 1384848 w 852"/>
                <a:gd name="T23" fmla="*/ 508815 h 1157"/>
                <a:gd name="T24" fmla="*/ 1360275 w 852"/>
                <a:gd name="T25" fmla="*/ 377560 h 1157"/>
                <a:gd name="T26" fmla="*/ 1326926 w 852"/>
                <a:gd name="T27" fmla="*/ 247926 h 1157"/>
                <a:gd name="T28" fmla="*/ 1281291 w 852"/>
                <a:gd name="T29" fmla="*/ 121532 h 1157"/>
                <a:gd name="T30" fmla="*/ 1230391 w 852"/>
                <a:gd name="T31" fmla="*/ 0 h 1157"/>
                <a:gd name="T32" fmla="*/ 956581 w 852"/>
                <a:gd name="T33" fmla="*/ 479647 h 1157"/>
                <a:gd name="T34" fmla="*/ 365080 w 852"/>
                <a:gd name="T35" fmla="*/ 471545 h 1157"/>
                <a:gd name="T36" fmla="*/ 389653 w 852"/>
                <a:gd name="T37" fmla="*/ 559048 h 1157"/>
                <a:gd name="T38" fmla="*/ 405450 w 852"/>
                <a:gd name="T39" fmla="*/ 651413 h 1157"/>
                <a:gd name="T40" fmla="*/ 412470 w 852"/>
                <a:gd name="T41" fmla="*/ 743777 h 1157"/>
                <a:gd name="T42" fmla="*/ 410715 w 852"/>
                <a:gd name="T43" fmla="*/ 832901 h 1157"/>
                <a:gd name="T44" fmla="*/ 401939 w 852"/>
                <a:gd name="T45" fmla="*/ 925266 h 1157"/>
                <a:gd name="T46" fmla="*/ 380877 w 852"/>
                <a:gd name="T47" fmla="*/ 1016010 h 1157"/>
                <a:gd name="T48" fmla="*/ 356304 w 852"/>
                <a:gd name="T49" fmla="*/ 1106754 h 1157"/>
                <a:gd name="T50" fmla="*/ 317690 w 852"/>
                <a:gd name="T51" fmla="*/ 1189396 h 1157"/>
                <a:gd name="T52" fmla="*/ 0 w 852"/>
                <a:gd name="T53" fmla="*/ 1017630 h 1157"/>
                <a:gd name="T54" fmla="*/ 461616 w 852"/>
                <a:gd name="T55" fmla="*/ 1873218 h 115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852"/>
                <a:gd name="T85" fmla="*/ 0 h 1157"/>
                <a:gd name="T86" fmla="*/ 852 w 852"/>
                <a:gd name="T87" fmla="*/ 1157 h 1157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852" h="1157">
                  <a:moveTo>
                    <a:pt x="263" y="1156"/>
                  </a:moveTo>
                  <a:lnTo>
                    <a:pt x="851" y="1143"/>
                  </a:lnTo>
                  <a:lnTo>
                    <a:pt x="668" y="1032"/>
                  </a:lnTo>
                  <a:lnTo>
                    <a:pt x="703" y="958"/>
                  </a:lnTo>
                  <a:lnTo>
                    <a:pt x="733" y="882"/>
                  </a:lnTo>
                  <a:lnTo>
                    <a:pt x="758" y="804"/>
                  </a:lnTo>
                  <a:lnTo>
                    <a:pt x="775" y="723"/>
                  </a:lnTo>
                  <a:lnTo>
                    <a:pt x="790" y="642"/>
                  </a:lnTo>
                  <a:lnTo>
                    <a:pt x="798" y="561"/>
                  </a:lnTo>
                  <a:lnTo>
                    <a:pt x="801" y="478"/>
                  </a:lnTo>
                  <a:lnTo>
                    <a:pt x="798" y="395"/>
                  </a:lnTo>
                  <a:lnTo>
                    <a:pt x="789" y="314"/>
                  </a:lnTo>
                  <a:lnTo>
                    <a:pt x="775" y="233"/>
                  </a:lnTo>
                  <a:lnTo>
                    <a:pt x="756" y="153"/>
                  </a:lnTo>
                  <a:lnTo>
                    <a:pt x="730" y="75"/>
                  </a:lnTo>
                  <a:lnTo>
                    <a:pt x="701" y="0"/>
                  </a:lnTo>
                  <a:lnTo>
                    <a:pt x="545" y="296"/>
                  </a:lnTo>
                  <a:lnTo>
                    <a:pt x="208" y="291"/>
                  </a:lnTo>
                  <a:lnTo>
                    <a:pt x="222" y="345"/>
                  </a:lnTo>
                  <a:lnTo>
                    <a:pt x="231" y="402"/>
                  </a:lnTo>
                  <a:lnTo>
                    <a:pt x="235" y="459"/>
                  </a:lnTo>
                  <a:lnTo>
                    <a:pt x="234" y="514"/>
                  </a:lnTo>
                  <a:lnTo>
                    <a:pt x="229" y="571"/>
                  </a:lnTo>
                  <a:lnTo>
                    <a:pt x="217" y="627"/>
                  </a:lnTo>
                  <a:lnTo>
                    <a:pt x="203" y="683"/>
                  </a:lnTo>
                  <a:lnTo>
                    <a:pt x="181" y="734"/>
                  </a:lnTo>
                  <a:lnTo>
                    <a:pt x="0" y="628"/>
                  </a:lnTo>
                  <a:lnTo>
                    <a:pt x="263" y="1156"/>
                  </a:lnTo>
                </a:path>
              </a:pathLst>
            </a:custGeom>
            <a:solidFill>
              <a:schemeClr val="accent3"/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blackWhite">
            <a:xfrm>
              <a:off x="5221288" y="2070100"/>
              <a:ext cx="1797050" cy="1557338"/>
            </a:xfrm>
            <a:custGeom>
              <a:avLst/>
              <a:gdLst>
                <a:gd name="T0" fmla="*/ 2147483647 w 1109"/>
                <a:gd name="T1" fmla="*/ 2147483647 h 962"/>
                <a:gd name="T2" fmla="*/ 2147483647 w 1109"/>
                <a:gd name="T3" fmla="*/ 2147483647 h 962"/>
                <a:gd name="T4" fmla="*/ 2147483647 w 1109"/>
                <a:gd name="T5" fmla="*/ 2147483647 h 962"/>
                <a:gd name="T6" fmla="*/ 2147483647 w 1109"/>
                <a:gd name="T7" fmla="*/ 2147483647 h 962"/>
                <a:gd name="T8" fmla="*/ 2147483647 w 1109"/>
                <a:gd name="T9" fmla="*/ 2147483647 h 962"/>
                <a:gd name="T10" fmla="*/ 2147483647 w 1109"/>
                <a:gd name="T11" fmla="*/ 2147483647 h 962"/>
                <a:gd name="T12" fmla="*/ 2147483647 w 1109"/>
                <a:gd name="T13" fmla="*/ 2147483647 h 962"/>
                <a:gd name="T14" fmla="*/ 2147483647 w 1109"/>
                <a:gd name="T15" fmla="*/ 2147483647 h 962"/>
                <a:gd name="T16" fmla="*/ 2147483647 w 1109"/>
                <a:gd name="T17" fmla="*/ 2147483647 h 962"/>
                <a:gd name="T18" fmla="*/ 2147483647 w 1109"/>
                <a:gd name="T19" fmla="*/ 2147483647 h 962"/>
                <a:gd name="T20" fmla="*/ 2147483647 w 1109"/>
                <a:gd name="T21" fmla="*/ 2147483647 h 962"/>
                <a:gd name="T22" fmla="*/ 2147483647 w 1109"/>
                <a:gd name="T23" fmla="*/ 2147483647 h 962"/>
                <a:gd name="T24" fmla="*/ 2147483647 w 1109"/>
                <a:gd name="T25" fmla="*/ 2147483647 h 962"/>
                <a:gd name="T26" fmla="*/ 2147483647 w 1109"/>
                <a:gd name="T27" fmla="*/ 2147483647 h 962"/>
                <a:gd name="T28" fmla="*/ 2147483647 w 1109"/>
                <a:gd name="T29" fmla="*/ 2147483647 h 962"/>
                <a:gd name="T30" fmla="*/ 2147483647 w 1109"/>
                <a:gd name="T31" fmla="*/ 2147483647 h 962"/>
                <a:gd name="T32" fmla="*/ 2147483647 w 1109"/>
                <a:gd name="T33" fmla="*/ 2147483647 h 962"/>
                <a:gd name="T34" fmla="*/ 2147483647 w 1109"/>
                <a:gd name="T35" fmla="*/ 2147483647 h 962"/>
                <a:gd name="T36" fmla="*/ 2147483647 w 1109"/>
                <a:gd name="T37" fmla="*/ 2147483647 h 962"/>
                <a:gd name="T38" fmla="*/ 0 w 1109"/>
                <a:gd name="T39" fmla="*/ 0 h 962"/>
                <a:gd name="T40" fmla="*/ 2147483647 w 1109"/>
                <a:gd name="T41" fmla="*/ 2147483647 h 962"/>
                <a:gd name="T42" fmla="*/ 2147483647 w 1109"/>
                <a:gd name="T43" fmla="*/ 2147483647 h 962"/>
                <a:gd name="T44" fmla="*/ 2147483647 w 1109"/>
                <a:gd name="T45" fmla="*/ 2147483647 h 962"/>
                <a:gd name="T46" fmla="*/ 2147483647 w 1109"/>
                <a:gd name="T47" fmla="*/ 2147483647 h 962"/>
                <a:gd name="T48" fmla="*/ 2147483647 w 1109"/>
                <a:gd name="T49" fmla="*/ 2147483647 h 962"/>
                <a:gd name="T50" fmla="*/ 2147483647 w 1109"/>
                <a:gd name="T51" fmla="*/ 2147483647 h 962"/>
                <a:gd name="T52" fmla="*/ 2147483647 w 1109"/>
                <a:gd name="T53" fmla="*/ 2147483647 h 962"/>
                <a:gd name="T54" fmla="*/ 2147483647 w 1109"/>
                <a:gd name="T55" fmla="*/ 2147483647 h 962"/>
                <a:gd name="T56" fmla="*/ 2147483647 w 1109"/>
                <a:gd name="T57" fmla="*/ 2147483647 h 962"/>
                <a:gd name="T58" fmla="*/ 2147483647 w 1109"/>
                <a:gd name="T59" fmla="*/ 2147483647 h 962"/>
                <a:gd name="T60" fmla="*/ 2147483647 w 1109"/>
                <a:gd name="T61" fmla="*/ 2147483647 h 9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109"/>
                <a:gd name="T94" fmla="*/ 0 h 962"/>
                <a:gd name="T95" fmla="*/ 1109 w 1109"/>
                <a:gd name="T96" fmla="*/ 962 h 9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109" h="962">
                  <a:moveTo>
                    <a:pt x="246" y="959"/>
                  </a:moveTo>
                  <a:lnTo>
                    <a:pt x="839" y="961"/>
                  </a:lnTo>
                  <a:lnTo>
                    <a:pt x="934" y="786"/>
                  </a:lnTo>
                  <a:lnTo>
                    <a:pt x="1023" y="611"/>
                  </a:lnTo>
                  <a:lnTo>
                    <a:pt x="1108" y="429"/>
                  </a:lnTo>
                  <a:lnTo>
                    <a:pt x="930" y="539"/>
                  </a:lnTo>
                  <a:lnTo>
                    <a:pt x="885" y="471"/>
                  </a:lnTo>
                  <a:lnTo>
                    <a:pt x="837" y="406"/>
                  </a:lnTo>
                  <a:lnTo>
                    <a:pt x="783" y="344"/>
                  </a:lnTo>
                  <a:lnTo>
                    <a:pt x="724" y="287"/>
                  </a:lnTo>
                  <a:lnTo>
                    <a:pt x="663" y="235"/>
                  </a:lnTo>
                  <a:lnTo>
                    <a:pt x="598" y="188"/>
                  </a:lnTo>
                  <a:lnTo>
                    <a:pt x="530" y="145"/>
                  </a:lnTo>
                  <a:lnTo>
                    <a:pt x="460" y="107"/>
                  </a:lnTo>
                  <a:lnTo>
                    <a:pt x="387" y="75"/>
                  </a:lnTo>
                  <a:lnTo>
                    <a:pt x="311" y="48"/>
                  </a:lnTo>
                  <a:lnTo>
                    <a:pt x="236" y="27"/>
                  </a:lnTo>
                  <a:lnTo>
                    <a:pt x="158" y="12"/>
                  </a:lnTo>
                  <a:lnTo>
                    <a:pt x="79" y="2"/>
                  </a:lnTo>
                  <a:lnTo>
                    <a:pt x="0" y="0"/>
                  </a:lnTo>
                  <a:lnTo>
                    <a:pt x="210" y="277"/>
                  </a:lnTo>
                  <a:lnTo>
                    <a:pt x="80" y="601"/>
                  </a:lnTo>
                  <a:lnTo>
                    <a:pt x="134" y="614"/>
                  </a:lnTo>
                  <a:lnTo>
                    <a:pt x="186" y="631"/>
                  </a:lnTo>
                  <a:lnTo>
                    <a:pt x="236" y="654"/>
                  </a:lnTo>
                  <a:lnTo>
                    <a:pt x="283" y="681"/>
                  </a:lnTo>
                  <a:lnTo>
                    <a:pt x="328" y="715"/>
                  </a:lnTo>
                  <a:lnTo>
                    <a:pt x="370" y="752"/>
                  </a:lnTo>
                  <a:lnTo>
                    <a:pt x="408" y="792"/>
                  </a:lnTo>
                  <a:lnTo>
                    <a:pt x="446" y="837"/>
                  </a:lnTo>
                  <a:lnTo>
                    <a:pt x="246" y="959"/>
                  </a:lnTo>
                </a:path>
              </a:pathLst>
            </a:custGeom>
            <a:solidFill>
              <a:schemeClr val="accent3">
                <a:lumMod val="75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blackWhite">
            <a:xfrm>
              <a:off x="1905000" y="1773238"/>
              <a:ext cx="3573463" cy="1779587"/>
            </a:xfrm>
            <a:custGeom>
              <a:avLst/>
              <a:gdLst>
                <a:gd name="T0" fmla="*/ 0 w 2206"/>
                <a:gd name="T1" fmla="*/ 2147483647 h 1099"/>
                <a:gd name="T2" fmla="*/ 2147483647 w 2206"/>
                <a:gd name="T3" fmla="*/ 2147483647 h 1099"/>
                <a:gd name="T4" fmla="*/ 2147483647 w 2206"/>
                <a:gd name="T5" fmla="*/ 2147483647 h 1099"/>
                <a:gd name="T6" fmla="*/ 2147483647 w 2206"/>
                <a:gd name="T7" fmla="*/ 2147483647 h 1099"/>
                <a:gd name="T8" fmla="*/ 2147483647 w 2206"/>
                <a:gd name="T9" fmla="*/ 2147483647 h 1099"/>
                <a:gd name="T10" fmla="*/ 2147483647 w 2206"/>
                <a:gd name="T11" fmla="*/ 2147483647 h 1099"/>
                <a:gd name="T12" fmla="*/ 2147483647 w 2206"/>
                <a:gd name="T13" fmla="*/ 2147483647 h 1099"/>
                <a:gd name="T14" fmla="*/ 2147483647 w 2206"/>
                <a:gd name="T15" fmla="*/ 2147483647 h 1099"/>
                <a:gd name="T16" fmla="*/ 2147483647 w 2206"/>
                <a:gd name="T17" fmla="*/ 2147483647 h 1099"/>
                <a:gd name="T18" fmla="*/ 2147483647 w 2206"/>
                <a:gd name="T19" fmla="*/ 2147483647 h 1099"/>
                <a:gd name="T20" fmla="*/ 2147483647 w 2206"/>
                <a:gd name="T21" fmla="*/ 2147483647 h 1099"/>
                <a:gd name="T22" fmla="*/ 2147483647 w 2206"/>
                <a:gd name="T23" fmla="*/ 2147483647 h 1099"/>
                <a:gd name="T24" fmla="*/ 2147483647 w 2206"/>
                <a:gd name="T25" fmla="*/ 2147483647 h 1099"/>
                <a:gd name="T26" fmla="*/ 2147483647 w 2206"/>
                <a:gd name="T27" fmla="*/ 2147483647 h 1099"/>
                <a:gd name="T28" fmla="*/ 2147483647 w 2206"/>
                <a:gd name="T29" fmla="*/ 0 h 1099"/>
                <a:gd name="T30" fmla="*/ 2147483647 w 2206"/>
                <a:gd name="T31" fmla="*/ 2147483647 h 1099"/>
                <a:gd name="T32" fmla="*/ 0 w 2206"/>
                <a:gd name="T33" fmla="*/ 2147483647 h 1099"/>
                <a:gd name="T34" fmla="*/ 0 w 2206"/>
                <a:gd name="T35" fmla="*/ 2147483647 h 109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206"/>
                <a:gd name="T55" fmla="*/ 0 h 1099"/>
                <a:gd name="T56" fmla="*/ 2206 w 2206"/>
                <a:gd name="T57" fmla="*/ 1099 h 109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206" h="1099">
                  <a:moveTo>
                    <a:pt x="0" y="864"/>
                  </a:moveTo>
                  <a:lnTo>
                    <a:pt x="1339" y="864"/>
                  </a:lnTo>
                  <a:lnTo>
                    <a:pt x="1552" y="1098"/>
                  </a:lnTo>
                  <a:lnTo>
                    <a:pt x="1587" y="1045"/>
                  </a:lnTo>
                  <a:lnTo>
                    <a:pt x="1625" y="996"/>
                  </a:lnTo>
                  <a:lnTo>
                    <a:pt x="1666" y="948"/>
                  </a:lnTo>
                  <a:lnTo>
                    <a:pt x="1711" y="906"/>
                  </a:lnTo>
                  <a:lnTo>
                    <a:pt x="1754" y="872"/>
                  </a:lnTo>
                  <a:lnTo>
                    <a:pt x="1800" y="845"/>
                  </a:lnTo>
                  <a:lnTo>
                    <a:pt x="1850" y="822"/>
                  </a:lnTo>
                  <a:lnTo>
                    <a:pt x="1900" y="803"/>
                  </a:lnTo>
                  <a:lnTo>
                    <a:pt x="1953" y="790"/>
                  </a:lnTo>
                  <a:lnTo>
                    <a:pt x="1983" y="1013"/>
                  </a:lnTo>
                  <a:lnTo>
                    <a:pt x="2205" y="471"/>
                  </a:lnTo>
                  <a:lnTo>
                    <a:pt x="1872" y="0"/>
                  </a:lnTo>
                  <a:lnTo>
                    <a:pt x="1873" y="196"/>
                  </a:lnTo>
                  <a:lnTo>
                    <a:pt x="0" y="196"/>
                  </a:lnTo>
                  <a:lnTo>
                    <a:pt x="0" y="864"/>
                  </a:lnTo>
                </a:path>
              </a:pathLst>
            </a:custGeom>
            <a:solidFill>
              <a:schemeClr val="accent3">
                <a:lumMod val="5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blackWhite">
            <a:xfrm>
              <a:off x="4867275" y="4592638"/>
              <a:ext cx="1806575" cy="1716087"/>
            </a:xfrm>
            <a:custGeom>
              <a:avLst/>
              <a:gdLst>
                <a:gd name="T0" fmla="*/ 0 w 1115"/>
                <a:gd name="T1" fmla="*/ 857233 h 1059"/>
                <a:gd name="T2" fmla="*/ 489786 w 1115"/>
                <a:gd name="T3" fmla="*/ 1714467 h 1059"/>
                <a:gd name="T4" fmla="*/ 489786 w 1115"/>
                <a:gd name="T5" fmla="*/ 1320690 h 1059"/>
                <a:gd name="T6" fmla="*/ 619693 w 1115"/>
                <a:gd name="T7" fmla="*/ 1309347 h 1059"/>
                <a:gd name="T8" fmla="*/ 753111 w 1115"/>
                <a:gd name="T9" fmla="*/ 1288280 h 1059"/>
                <a:gd name="T10" fmla="*/ 881263 w 1115"/>
                <a:gd name="T11" fmla="*/ 1259112 h 1059"/>
                <a:gd name="T12" fmla="*/ 1005904 w 1115"/>
                <a:gd name="T13" fmla="*/ 1221841 h 1059"/>
                <a:gd name="T14" fmla="*/ 1128789 w 1115"/>
                <a:gd name="T15" fmla="*/ 1176467 h 1059"/>
                <a:gd name="T16" fmla="*/ 1249919 w 1115"/>
                <a:gd name="T17" fmla="*/ 1122992 h 1059"/>
                <a:gd name="T18" fmla="*/ 1365782 w 1115"/>
                <a:gd name="T19" fmla="*/ 1061413 h 1059"/>
                <a:gd name="T20" fmla="*/ 1479890 w 1115"/>
                <a:gd name="T21" fmla="*/ 993353 h 1059"/>
                <a:gd name="T22" fmla="*/ 1581709 w 1115"/>
                <a:gd name="T23" fmla="*/ 913950 h 1059"/>
                <a:gd name="T24" fmla="*/ 1687039 w 1115"/>
                <a:gd name="T25" fmla="*/ 831306 h 1059"/>
                <a:gd name="T26" fmla="*/ 1781836 w 1115"/>
                <a:gd name="T27" fmla="*/ 738938 h 1059"/>
                <a:gd name="T28" fmla="*/ 1874878 w 1115"/>
                <a:gd name="T29" fmla="*/ 640089 h 1059"/>
                <a:gd name="T30" fmla="*/ 1955631 w 1115"/>
                <a:gd name="T31" fmla="*/ 539619 h 1059"/>
                <a:gd name="T32" fmla="*/ 1362271 w 1115"/>
                <a:gd name="T33" fmla="*/ 570408 h 1059"/>
                <a:gd name="T34" fmla="*/ 1093679 w 1115"/>
                <a:gd name="T35" fmla="*/ 58337 h 1059"/>
                <a:gd name="T36" fmla="*/ 1037503 w 1115"/>
                <a:gd name="T37" fmla="*/ 111813 h 1059"/>
                <a:gd name="T38" fmla="*/ 977816 w 1115"/>
                <a:gd name="T39" fmla="*/ 158807 h 1059"/>
                <a:gd name="T40" fmla="*/ 905840 w 1115"/>
                <a:gd name="T41" fmla="*/ 207421 h 1059"/>
                <a:gd name="T42" fmla="*/ 828598 w 1115"/>
                <a:gd name="T43" fmla="*/ 254415 h 1059"/>
                <a:gd name="T44" fmla="*/ 746089 w 1115"/>
                <a:gd name="T45" fmla="*/ 288445 h 1059"/>
                <a:gd name="T46" fmla="*/ 665336 w 1115"/>
                <a:gd name="T47" fmla="*/ 319234 h 1059"/>
                <a:gd name="T48" fmla="*/ 579316 w 1115"/>
                <a:gd name="T49" fmla="*/ 341921 h 1059"/>
                <a:gd name="T50" fmla="*/ 489786 w 1115"/>
                <a:gd name="T51" fmla="*/ 356505 h 1059"/>
                <a:gd name="T52" fmla="*/ 489786 w 1115"/>
                <a:gd name="T53" fmla="*/ 0 h 1059"/>
                <a:gd name="T54" fmla="*/ 0 w 1115"/>
                <a:gd name="T55" fmla="*/ 857233 h 1059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115"/>
                <a:gd name="T85" fmla="*/ 0 h 1059"/>
                <a:gd name="T86" fmla="*/ 1115 w 1115"/>
                <a:gd name="T87" fmla="*/ 1059 h 1059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115" h="1059">
                  <a:moveTo>
                    <a:pt x="0" y="529"/>
                  </a:moveTo>
                  <a:lnTo>
                    <a:pt x="279" y="1058"/>
                  </a:lnTo>
                  <a:lnTo>
                    <a:pt x="279" y="815"/>
                  </a:lnTo>
                  <a:lnTo>
                    <a:pt x="353" y="808"/>
                  </a:lnTo>
                  <a:lnTo>
                    <a:pt x="429" y="795"/>
                  </a:lnTo>
                  <a:lnTo>
                    <a:pt x="502" y="777"/>
                  </a:lnTo>
                  <a:lnTo>
                    <a:pt x="573" y="754"/>
                  </a:lnTo>
                  <a:lnTo>
                    <a:pt x="643" y="726"/>
                  </a:lnTo>
                  <a:lnTo>
                    <a:pt x="712" y="693"/>
                  </a:lnTo>
                  <a:lnTo>
                    <a:pt x="778" y="655"/>
                  </a:lnTo>
                  <a:lnTo>
                    <a:pt x="843" y="613"/>
                  </a:lnTo>
                  <a:lnTo>
                    <a:pt x="901" y="564"/>
                  </a:lnTo>
                  <a:lnTo>
                    <a:pt x="961" y="513"/>
                  </a:lnTo>
                  <a:lnTo>
                    <a:pt x="1015" y="456"/>
                  </a:lnTo>
                  <a:lnTo>
                    <a:pt x="1068" y="395"/>
                  </a:lnTo>
                  <a:lnTo>
                    <a:pt x="1114" y="333"/>
                  </a:lnTo>
                  <a:lnTo>
                    <a:pt x="776" y="352"/>
                  </a:lnTo>
                  <a:lnTo>
                    <a:pt x="623" y="36"/>
                  </a:lnTo>
                  <a:lnTo>
                    <a:pt x="591" y="69"/>
                  </a:lnTo>
                  <a:lnTo>
                    <a:pt x="557" y="98"/>
                  </a:lnTo>
                  <a:lnTo>
                    <a:pt x="516" y="128"/>
                  </a:lnTo>
                  <a:lnTo>
                    <a:pt x="472" y="157"/>
                  </a:lnTo>
                  <a:lnTo>
                    <a:pt x="425" y="178"/>
                  </a:lnTo>
                  <a:lnTo>
                    <a:pt x="379" y="197"/>
                  </a:lnTo>
                  <a:lnTo>
                    <a:pt x="330" y="211"/>
                  </a:lnTo>
                  <a:lnTo>
                    <a:pt x="279" y="220"/>
                  </a:lnTo>
                  <a:lnTo>
                    <a:pt x="279" y="0"/>
                  </a:lnTo>
                  <a:lnTo>
                    <a:pt x="0" y="529"/>
                  </a:lnTo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blackWhite">
            <a:xfrm>
              <a:off x="3294063" y="4378325"/>
              <a:ext cx="1719262" cy="1531938"/>
            </a:xfrm>
            <a:custGeom>
              <a:avLst/>
              <a:gdLst>
                <a:gd name="T0" fmla="*/ 2147483647 w 1061"/>
                <a:gd name="T1" fmla="*/ 0 h 946"/>
                <a:gd name="T2" fmla="*/ 0 w 1061"/>
                <a:gd name="T3" fmla="*/ 2147483647 h 946"/>
                <a:gd name="T4" fmla="*/ 2147483647 w 1061"/>
                <a:gd name="T5" fmla="*/ 2147483647 h 946"/>
                <a:gd name="T6" fmla="*/ 2147483647 w 1061"/>
                <a:gd name="T7" fmla="*/ 2147483647 h 946"/>
                <a:gd name="T8" fmla="*/ 2147483647 w 1061"/>
                <a:gd name="T9" fmla="*/ 2147483647 h 946"/>
                <a:gd name="T10" fmla="*/ 2147483647 w 1061"/>
                <a:gd name="T11" fmla="*/ 2147483647 h 946"/>
                <a:gd name="T12" fmla="*/ 2147483647 w 1061"/>
                <a:gd name="T13" fmla="*/ 2147483647 h 946"/>
                <a:gd name="T14" fmla="*/ 2147483647 w 1061"/>
                <a:gd name="T15" fmla="*/ 2147483647 h 946"/>
                <a:gd name="T16" fmla="*/ 2147483647 w 1061"/>
                <a:gd name="T17" fmla="*/ 2147483647 h 946"/>
                <a:gd name="T18" fmla="*/ 2147483647 w 1061"/>
                <a:gd name="T19" fmla="*/ 2147483647 h 946"/>
                <a:gd name="T20" fmla="*/ 2147483647 w 1061"/>
                <a:gd name="T21" fmla="*/ 2147483647 h 946"/>
                <a:gd name="T22" fmla="*/ 2147483647 w 1061"/>
                <a:gd name="T23" fmla="*/ 2147483647 h 946"/>
                <a:gd name="T24" fmla="*/ 2147483647 w 1061"/>
                <a:gd name="T25" fmla="*/ 2147483647 h 946"/>
                <a:gd name="T26" fmla="*/ 2147483647 w 1061"/>
                <a:gd name="T27" fmla="*/ 2147483647 h 946"/>
                <a:gd name="T28" fmla="*/ 2147483647 w 1061"/>
                <a:gd name="T29" fmla="*/ 2147483647 h 946"/>
                <a:gd name="T30" fmla="*/ 2147483647 w 1061"/>
                <a:gd name="T31" fmla="*/ 2147483647 h 946"/>
                <a:gd name="T32" fmla="*/ 2147483647 w 1061"/>
                <a:gd name="T33" fmla="*/ 2147483647 h 946"/>
                <a:gd name="T34" fmla="*/ 2147483647 w 1061"/>
                <a:gd name="T35" fmla="*/ 2147483647 h 946"/>
                <a:gd name="T36" fmla="*/ 2147483647 w 1061"/>
                <a:gd name="T37" fmla="*/ 2147483647 h 946"/>
                <a:gd name="T38" fmla="*/ 2147483647 w 1061"/>
                <a:gd name="T39" fmla="*/ 2147483647 h 946"/>
                <a:gd name="T40" fmla="*/ 2147483647 w 1061"/>
                <a:gd name="T41" fmla="*/ 2147483647 h 946"/>
                <a:gd name="T42" fmla="*/ 2147483647 w 1061"/>
                <a:gd name="T43" fmla="*/ 2147483647 h 946"/>
                <a:gd name="T44" fmla="*/ 2147483647 w 1061"/>
                <a:gd name="T45" fmla="*/ 2147483647 h 946"/>
                <a:gd name="T46" fmla="*/ 2147483647 w 1061"/>
                <a:gd name="T47" fmla="*/ 2147483647 h 946"/>
                <a:gd name="T48" fmla="*/ 2147483647 w 1061"/>
                <a:gd name="T49" fmla="*/ 2147483647 h 946"/>
                <a:gd name="T50" fmla="*/ 2147483647 w 1061"/>
                <a:gd name="T51" fmla="*/ 0 h 94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061"/>
                <a:gd name="T79" fmla="*/ 0 h 946"/>
                <a:gd name="T80" fmla="*/ 1061 w 1061"/>
                <a:gd name="T81" fmla="*/ 946 h 94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061" h="946">
                  <a:moveTo>
                    <a:pt x="372" y="0"/>
                  </a:moveTo>
                  <a:lnTo>
                    <a:pt x="0" y="477"/>
                  </a:lnTo>
                  <a:lnTo>
                    <a:pt x="207" y="395"/>
                  </a:lnTo>
                  <a:lnTo>
                    <a:pt x="252" y="466"/>
                  </a:lnTo>
                  <a:lnTo>
                    <a:pt x="302" y="531"/>
                  </a:lnTo>
                  <a:lnTo>
                    <a:pt x="354" y="592"/>
                  </a:lnTo>
                  <a:lnTo>
                    <a:pt x="410" y="649"/>
                  </a:lnTo>
                  <a:lnTo>
                    <a:pt x="471" y="703"/>
                  </a:lnTo>
                  <a:lnTo>
                    <a:pt x="535" y="751"/>
                  </a:lnTo>
                  <a:lnTo>
                    <a:pt x="602" y="795"/>
                  </a:lnTo>
                  <a:lnTo>
                    <a:pt x="670" y="833"/>
                  </a:lnTo>
                  <a:lnTo>
                    <a:pt x="745" y="867"/>
                  </a:lnTo>
                  <a:lnTo>
                    <a:pt x="818" y="894"/>
                  </a:lnTo>
                  <a:lnTo>
                    <a:pt x="894" y="917"/>
                  </a:lnTo>
                  <a:lnTo>
                    <a:pt x="970" y="934"/>
                  </a:lnTo>
                  <a:lnTo>
                    <a:pt x="1048" y="945"/>
                  </a:lnTo>
                  <a:lnTo>
                    <a:pt x="896" y="669"/>
                  </a:lnTo>
                  <a:lnTo>
                    <a:pt x="1060" y="347"/>
                  </a:lnTo>
                  <a:lnTo>
                    <a:pt x="1004" y="334"/>
                  </a:lnTo>
                  <a:lnTo>
                    <a:pt x="951" y="315"/>
                  </a:lnTo>
                  <a:lnTo>
                    <a:pt x="898" y="290"/>
                  </a:lnTo>
                  <a:lnTo>
                    <a:pt x="850" y="260"/>
                  </a:lnTo>
                  <a:lnTo>
                    <a:pt x="802" y="223"/>
                  </a:lnTo>
                  <a:lnTo>
                    <a:pt x="761" y="184"/>
                  </a:lnTo>
                  <a:lnTo>
                    <a:pt x="938" y="113"/>
                  </a:lnTo>
                  <a:lnTo>
                    <a:pt x="372" y="0"/>
                  </a:lnTo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Freeform 39"/>
            <p:cNvSpPr>
              <a:spLocks/>
            </p:cNvSpPr>
            <p:nvPr/>
          </p:nvSpPr>
          <p:spPr bwMode="blackWhite">
            <a:xfrm>
              <a:off x="3134390" y="3065463"/>
              <a:ext cx="1531273" cy="1709737"/>
            </a:xfrm>
            <a:custGeom>
              <a:avLst/>
              <a:gdLst>
                <a:gd name="T0" fmla="*/ 2147483647 w 866"/>
                <a:gd name="T1" fmla="*/ 0 h 1055"/>
                <a:gd name="T2" fmla="*/ 0 w 866"/>
                <a:gd name="T3" fmla="*/ 2147483647 h 1055"/>
                <a:gd name="T4" fmla="*/ 2147483647 w 866"/>
                <a:gd name="T5" fmla="*/ 2147483647 h 1055"/>
                <a:gd name="T6" fmla="*/ 2147483647 w 866"/>
                <a:gd name="T7" fmla="*/ 2147483647 h 1055"/>
                <a:gd name="T8" fmla="*/ 2147483647 w 866"/>
                <a:gd name="T9" fmla="*/ 2147483647 h 1055"/>
                <a:gd name="T10" fmla="*/ 2147483647 w 866"/>
                <a:gd name="T11" fmla="*/ 2147483647 h 1055"/>
                <a:gd name="T12" fmla="*/ 2147483647 w 866"/>
                <a:gd name="T13" fmla="*/ 2147483647 h 1055"/>
                <a:gd name="T14" fmla="*/ 2147483647 w 866"/>
                <a:gd name="T15" fmla="*/ 2147483647 h 1055"/>
                <a:gd name="T16" fmla="*/ 2147483647 w 866"/>
                <a:gd name="T17" fmla="*/ 2147483647 h 1055"/>
                <a:gd name="T18" fmla="*/ 2147483647 w 866"/>
                <a:gd name="T19" fmla="*/ 2147483647 h 1055"/>
                <a:gd name="T20" fmla="*/ 2147483647 w 866"/>
                <a:gd name="T21" fmla="*/ 2147483647 h 1055"/>
                <a:gd name="T22" fmla="*/ 2147483647 w 866"/>
                <a:gd name="T23" fmla="*/ 2147483647 h 1055"/>
                <a:gd name="T24" fmla="*/ 2147483647 w 866"/>
                <a:gd name="T25" fmla="*/ 2147483647 h 1055"/>
                <a:gd name="T26" fmla="*/ 2147483647 w 866"/>
                <a:gd name="T27" fmla="*/ 2147483647 h 1055"/>
                <a:gd name="T28" fmla="*/ 2147483647 w 866"/>
                <a:gd name="T29" fmla="*/ 2147483647 h 1055"/>
                <a:gd name="T30" fmla="*/ 2147483647 w 866"/>
                <a:gd name="T31" fmla="*/ 2147483647 h 1055"/>
                <a:gd name="T32" fmla="*/ 2147483647 w 866"/>
                <a:gd name="T33" fmla="*/ 2147483647 h 1055"/>
                <a:gd name="T34" fmla="*/ 2147483647 w 866"/>
                <a:gd name="T35" fmla="*/ 2147483647 h 1055"/>
                <a:gd name="T36" fmla="*/ 2147483647 w 866"/>
                <a:gd name="T37" fmla="*/ 2147483647 h 1055"/>
                <a:gd name="T38" fmla="*/ 2147483647 w 866"/>
                <a:gd name="T39" fmla="*/ 2147483647 h 1055"/>
                <a:gd name="T40" fmla="*/ 2147483647 w 866"/>
                <a:gd name="T41" fmla="*/ 2147483647 h 1055"/>
                <a:gd name="T42" fmla="*/ 2147483647 w 866"/>
                <a:gd name="T43" fmla="*/ 2147483647 h 1055"/>
                <a:gd name="T44" fmla="*/ 2147483647 w 866"/>
                <a:gd name="T45" fmla="*/ 2147483647 h 1055"/>
                <a:gd name="T46" fmla="*/ 2147483647 w 866"/>
                <a:gd name="T47" fmla="*/ 2147483647 h 1055"/>
                <a:gd name="T48" fmla="*/ 2147483647 w 866"/>
                <a:gd name="T49" fmla="*/ 2147483647 h 1055"/>
                <a:gd name="T50" fmla="*/ 2147483647 w 866"/>
                <a:gd name="T51" fmla="*/ 0 h 1055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866"/>
                <a:gd name="T79" fmla="*/ 0 h 1055"/>
                <a:gd name="T80" fmla="*/ 866 w 866"/>
                <a:gd name="T81" fmla="*/ 1055 h 1055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866" h="1055">
                  <a:moveTo>
                    <a:pt x="571" y="0"/>
                  </a:moveTo>
                  <a:lnTo>
                    <a:pt x="0" y="1"/>
                  </a:lnTo>
                  <a:lnTo>
                    <a:pt x="178" y="111"/>
                  </a:lnTo>
                  <a:lnTo>
                    <a:pt x="153" y="187"/>
                  </a:lnTo>
                  <a:lnTo>
                    <a:pt x="130" y="264"/>
                  </a:lnTo>
                  <a:lnTo>
                    <a:pt x="113" y="343"/>
                  </a:lnTo>
                  <a:lnTo>
                    <a:pt x="100" y="423"/>
                  </a:lnTo>
                  <a:lnTo>
                    <a:pt x="94" y="504"/>
                  </a:lnTo>
                  <a:lnTo>
                    <a:pt x="93" y="583"/>
                  </a:lnTo>
                  <a:lnTo>
                    <a:pt x="95" y="664"/>
                  </a:lnTo>
                  <a:lnTo>
                    <a:pt x="104" y="744"/>
                  </a:lnTo>
                  <a:lnTo>
                    <a:pt x="118" y="824"/>
                  </a:lnTo>
                  <a:lnTo>
                    <a:pt x="136" y="903"/>
                  </a:lnTo>
                  <a:lnTo>
                    <a:pt x="159" y="979"/>
                  </a:lnTo>
                  <a:lnTo>
                    <a:pt x="189" y="1054"/>
                  </a:lnTo>
                  <a:lnTo>
                    <a:pt x="412" y="766"/>
                  </a:lnTo>
                  <a:lnTo>
                    <a:pt x="702" y="816"/>
                  </a:lnTo>
                  <a:lnTo>
                    <a:pt x="681" y="760"/>
                  </a:lnTo>
                  <a:lnTo>
                    <a:pt x="666" y="705"/>
                  </a:lnTo>
                  <a:lnTo>
                    <a:pt x="658" y="647"/>
                  </a:lnTo>
                  <a:lnTo>
                    <a:pt x="652" y="588"/>
                  </a:lnTo>
                  <a:lnTo>
                    <a:pt x="652" y="529"/>
                  </a:lnTo>
                  <a:lnTo>
                    <a:pt x="660" y="470"/>
                  </a:lnTo>
                  <a:lnTo>
                    <a:pt x="672" y="413"/>
                  </a:lnTo>
                  <a:lnTo>
                    <a:pt x="865" y="531"/>
                  </a:lnTo>
                  <a:lnTo>
                    <a:pt x="571" y="0"/>
                  </a:lnTo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" name="Rectangle 40"/>
            <p:cNvSpPr>
              <a:spLocks noChangeArrowheads="1"/>
            </p:cNvSpPr>
            <p:nvPr/>
          </p:nvSpPr>
          <p:spPr bwMode="blackWhite">
            <a:xfrm>
              <a:off x="2898547" y="2538471"/>
              <a:ext cx="1413336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marL="0" marR="0" lvl="0" indent="0" algn="ctr" defTabSz="787400" rtl="0" eaLnBrk="1" fontAlgn="auto" latinLnBrk="0" hangingPunct="1">
                <a:lnSpc>
                  <a:spcPct val="95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3E3838"/>
                </a:buClr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ext. White. 14PT</a:t>
              </a:r>
            </a:p>
          </p:txBody>
        </p:sp>
        <p:sp>
          <p:nvSpPr>
            <p:cNvPr id="42" name="Rectangle 41"/>
            <p:cNvSpPr>
              <a:spLocks noChangeArrowheads="1"/>
            </p:cNvSpPr>
            <p:nvPr/>
          </p:nvSpPr>
          <p:spPr bwMode="blackWhite">
            <a:xfrm>
              <a:off x="5890738" y="2805171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marL="0" marR="0" lvl="0" indent="0" algn="ctr" defTabSz="787400" rtl="0" eaLnBrk="1" fontAlgn="auto" latinLnBrk="0" hangingPunct="1">
                <a:lnSpc>
                  <a:spcPct val="95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3E3838"/>
                </a:buClr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43" name="Rectangle 42"/>
            <p:cNvSpPr>
              <a:spLocks noChangeArrowheads="1"/>
            </p:cNvSpPr>
            <p:nvPr/>
          </p:nvSpPr>
          <p:spPr bwMode="blackWhite">
            <a:xfrm>
              <a:off x="6370162" y="4146609"/>
              <a:ext cx="327975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marL="0" marR="0" lvl="0" indent="0" algn="ctr" defTabSz="787400" rtl="0" eaLnBrk="1" fontAlgn="auto" latinLnBrk="0" hangingPunct="1">
                <a:lnSpc>
                  <a:spcPct val="95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3E3838"/>
                </a:buClr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44" name="Rectangle 43"/>
            <p:cNvSpPr>
              <a:spLocks noChangeArrowheads="1"/>
            </p:cNvSpPr>
            <p:nvPr/>
          </p:nvSpPr>
          <p:spPr bwMode="blackWhite">
            <a:xfrm>
              <a:off x="5501800" y="5259446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marL="0" marR="0" lvl="0" indent="0" algn="ctr" defTabSz="787400" rtl="0" eaLnBrk="1" fontAlgn="auto" latinLnBrk="0" hangingPunct="1">
                <a:lnSpc>
                  <a:spcPct val="95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3E3838"/>
                </a:buClr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45" name="Rectangle 44"/>
            <p:cNvSpPr>
              <a:spLocks noChangeArrowheads="1"/>
            </p:cNvSpPr>
            <p:nvPr/>
          </p:nvSpPr>
          <p:spPr bwMode="blackWhite">
            <a:xfrm>
              <a:off x="4166713" y="4962584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marL="0" marR="0" lvl="0" indent="0" algn="ctr" defTabSz="787400" rtl="0" eaLnBrk="1" fontAlgn="auto" latinLnBrk="0" hangingPunct="1">
                <a:lnSpc>
                  <a:spcPct val="95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3E3838"/>
                </a:buClr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46" name="Rectangle 45"/>
            <p:cNvSpPr>
              <a:spLocks noChangeArrowheads="1"/>
            </p:cNvSpPr>
            <p:nvPr/>
          </p:nvSpPr>
          <p:spPr bwMode="blackWhite">
            <a:xfrm>
              <a:off x="3627624" y="3692584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marL="0" marR="0" lvl="0" indent="0" algn="ctr" defTabSz="787400" rtl="0" eaLnBrk="1" fontAlgn="auto" latinLnBrk="0" hangingPunct="1">
                <a:lnSpc>
                  <a:spcPct val="95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3E3838"/>
                </a:buClr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ext</a:t>
              </a:r>
            </a:p>
          </p:txBody>
        </p:sp>
      </p:grpSp>
      <p:sp>
        <p:nvSpPr>
          <p:cNvPr id="47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8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4A821D7-FED0-48B8-AFE5-3A57F0E24FED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Sunday, October 19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5116786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Slide designed to be used when you only have a small intro paragraph and bullet points. 18PT</a:t>
            </a:r>
          </a:p>
        </p:txBody>
      </p:sp>
      <p:sp>
        <p:nvSpPr>
          <p:cNvPr id="55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5116786" cy="364692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026503608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. Strategy Slide - Process Closed Loop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93C38AE4-B279-4EB8-8554-69F24D6448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93C38AE4-B279-4EB8-8554-69F24D6448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12AB5A7A-288E-4B8B-945D-D3095B3373F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7061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PROCESS CLOSED LOOP WITH LARGE TEXT</a:t>
            </a:r>
          </a:p>
        </p:txBody>
      </p:sp>
      <p:sp>
        <p:nvSpPr>
          <p:cNvPr id="47" name="Arc 3"/>
          <p:cNvSpPr>
            <a:spLocks/>
          </p:cNvSpPr>
          <p:nvPr userDrawn="1"/>
        </p:nvSpPr>
        <p:spPr bwMode="auto">
          <a:xfrm>
            <a:off x="8555775" y="1924512"/>
            <a:ext cx="2043112" cy="1801812"/>
          </a:xfrm>
          <a:custGeom>
            <a:avLst/>
            <a:gdLst>
              <a:gd name="T0" fmla="*/ 0 w 19173"/>
              <a:gd name="T1" fmla="*/ 0 h 21600"/>
              <a:gd name="T2" fmla="*/ 2147483647 w 19173"/>
              <a:gd name="T3" fmla="*/ 2147483647 h 21600"/>
              <a:gd name="T4" fmla="*/ 0 w 19173"/>
              <a:gd name="T5" fmla="*/ 2147483647 h 21600"/>
              <a:gd name="T6" fmla="*/ 0 60000 65536"/>
              <a:gd name="T7" fmla="*/ 0 60000 65536"/>
              <a:gd name="T8" fmla="*/ 0 60000 65536"/>
              <a:gd name="T9" fmla="*/ 0 w 19173"/>
              <a:gd name="T10" fmla="*/ 0 h 21600"/>
              <a:gd name="T11" fmla="*/ 19173 w 19173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9173" h="21600" fill="none" extrusionOk="0">
                <a:moveTo>
                  <a:pt x="-1" y="0"/>
                </a:moveTo>
                <a:cubicBezTo>
                  <a:pt x="8064" y="0"/>
                  <a:pt x="15457" y="4492"/>
                  <a:pt x="19172" y="11651"/>
                </a:cubicBezTo>
              </a:path>
              <a:path w="19173" h="21600" stroke="0" extrusionOk="0">
                <a:moveTo>
                  <a:pt x="-1" y="0"/>
                </a:moveTo>
                <a:cubicBezTo>
                  <a:pt x="8064" y="0"/>
                  <a:pt x="15457" y="4492"/>
                  <a:pt x="19172" y="11651"/>
                </a:cubicBezTo>
                <a:lnTo>
                  <a:pt x="0" y="21600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/>
            <a:tailEnd type="triangle" w="med" len="med"/>
          </a:ln>
        </p:spPr>
        <p:txBody>
          <a:bodyPr wrap="none" lIns="36000" tIns="36000" rIns="36000" bIns="36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8" name="Arc 4"/>
          <p:cNvSpPr>
            <a:spLocks/>
          </p:cNvSpPr>
          <p:nvPr userDrawn="1"/>
        </p:nvSpPr>
        <p:spPr bwMode="auto">
          <a:xfrm flipV="1">
            <a:off x="8555775" y="3803958"/>
            <a:ext cx="2301875" cy="969963"/>
          </a:xfrm>
          <a:custGeom>
            <a:avLst/>
            <a:gdLst>
              <a:gd name="T0" fmla="*/ 2147483647 w 21600"/>
              <a:gd name="T1" fmla="*/ 0 h 11619"/>
              <a:gd name="T2" fmla="*/ 2147483647 w 21600"/>
              <a:gd name="T3" fmla="*/ 2147483647 h 11619"/>
              <a:gd name="T4" fmla="*/ 0 w 21600"/>
              <a:gd name="T5" fmla="*/ 2147483647 h 11619"/>
              <a:gd name="T6" fmla="*/ 0 60000 65536"/>
              <a:gd name="T7" fmla="*/ 0 60000 65536"/>
              <a:gd name="T8" fmla="*/ 0 60000 65536"/>
              <a:gd name="T9" fmla="*/ 0 w 21600"/>
              <a:gd name="T10" fmla="*/ 0 h 11619"/>
              <a:gd name="T11" fmla="*/ 21600 w 21600"/>
              <a:gd name="T12" fmla="*/ 11619 h 11619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11619" fill="none" extrusionOk="0">
                <a:moveTo>
                  <a:pt x="18208" y="0"/>
                </a:moveTo>
                <a:cubicBezTo>
                  <a:pt x="20423" y="3470"/>
                  <a:pt x="21600" y="7501"/>
                  <a:pt x="21600" y="11619"/>
                </a:cubicBezTo>
              </a:path>
              <a:path w="21600" h="11619" stroke="0" extrusionOk="0">
                <a:moveTo>
                  <a:pt x="18208" y="0"/>
                </a:moveTo>
                <a:cubicBezTo>
                  <a:pt x="20423" y="3470"/>
                  <a:pt x="21600" y="7501"/>
                  <a:pt x="21600" y="11619"/>
                </a:cubicBezTo>
                <a:lnTo>
                  <a:pt x="0" y="11619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rot="10800000" wrap="none" lIns="36000" tIns="36000" rIns="36000" bIns="36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9" name="Arc 5"/>
          <p:cNvSpPr>
            <a:spLocks/>
          </p:cNvSpPr>
          <p:nvPr userDrawn="1"/>
        </p:nvSpPr>
        <p:spPr bwMode="auto">
          <a:xfrm rot="183362" flipV="1">
            <a:off x="8250238" y="3884613"/>
            <a:ext cx="1851025" cy="1801813"/>
          </a:xfrm>
          <a:custGeom>
            <a:avLst/>
            <a:gdLst>
              <a:gd name="T0" fmla="*/ 0 w 17368"/>
              <a:gd name="T1" fmla="*/ 2147483647 h 21600"/>
              <a:gd name="T2" fmla="*/ 2147483647 w 17368"/>
              <a:gd name="T3" fmla="*/ 2147483647 h 21600"/>
              <a:gd name="T4" fmla="*/ 2147483647 w 17368"/>
              <a:gd name="T5" fmla="*/ 2147483647 h 21600"/>
              <a:gd name="T6" fmla="*/ 0 60000 65536"/>
              <a:gd name="T7" fmla="*/ 0 60000 65536"/>
              <a:gd name="T8" fmla="*/ 0 60000 65536"/>
              <a:gd name="T9" fmla="*/ 0 w 17368"/>
              <a:gd name="T10" fmla="*/ 0 h 21600"/>
              <a:gd name="T11" fmla="*/ 17368 w 17368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7368" h="21600" fill="none" extrusionOk="0">
                <a:moveTo>
                  <a:pt x="0" y="189"/>
                </a:moveTo>
                <a:cubicBezTo>
                  <a:pt x="945" y="63"/>
                  <a:pt x="1898" y="-1"/>
                  <a:pt x="2852" y="0"/>
                </a:cubicBezTo>
                <a:cubicBezTo>
                  <a:pt x="8218" y="0"/>
                  <a:pt x="13393" y="1998"/>
                  <a:pt x="17368" y="5604"/>
                </a:cubicBezTo>
              </a:path>
              <a:path w="17368" h="21600" stroke="0" extrusionOk="0">
                <a:moveTo>
                  <a:pt x="0" y="189"/>
                </a:moveTo>
                <a:cubicBezTo>
                  <a:pt x="945" y="63"/>
                  <a:pt x="1898" y="-1"/>
                  <a:pt x="2852" y="0"/>
                </a:cubicBezTo>
                <a:cubicBezTo>
                  <a:pt x="8218" y="0"/>
                  <a:pt x="13393" y="1998"/>
                  <a:pt x="17368" y="5604"/>
                </a:cubicBezTo>
                <a:lnTo>
                  <a:pt x="2852" y="21600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rot="10800000" wrap="none" lIns="36000" tIns="36000" rIns="36000" bIns="36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4" name="Arc 6"/>
          <p:cNvSpPr>
            <a:spLocks/>
          </p:cNvSpPr>
          <p:nvPr userDrawn="1"/>
        </p:nvSpPr>
        <p:spPr bwMode="auto">
          <a:xfrm flipH="1" flipV="1">
            <a:off x="6312637" y="3726324"/>
            <a:ext cx="2244725" cy="1592263"/>
          </a:xfrm>
          <a:custGeom>
            <a:avLst/>
            <a:gdLst>
              <a:gd name="T0" fmla="*/ 2147483647 w 21027"/>
              <a:gd name="T1" fmla="*/ 0 h 19082"/>
              <a:gd name="T2" fmla="*/ 2147483647 w 21027"/>
              <a:gd name="T3" fmla="*/ 2147483647 h 19082"/>
              <a:gd name="T4" fmla="*/ 0 w 21027"/>
              <a:gd name="T5" fmla="*/ 2147483647 h 19082"/>
              <a:gd name="T6" fmla="*/ 0 60000 65536"/>
              <a:gd name="T7" fmla="*/ 0 60000 65536"/>
              <a:gd name="T8" fmla="*/ 0 60000 65536"/>
              <a:gd name="T9" fmla="*/ 0 w 21027"/>
              <a:gd name="T10" fmla="*/ 0 h 19082"/>
              <a:gd name="T11" fmla="*/ 21027 w 21027"/>
              <a:gd name="T12" fmla="*/ 19082 h 1908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027" h="19082" fill="none" extrusionOk="0">
                <a:moveTo>
                  <a:pt x="10121" y="0"/>
                </a:moveTo>
                <a:cubicBezTo>
                  <a:pt x="15625" y="2919"/>
                  <a:pt x="19601" y="8073"/>
                  <a:pt x="21026" y="14139"/>
                </a:cubicBezTo>
              </a:path>
              <a:path w="21027" h="19082" stroke="0" extrusionOk="0">
                <a:moveTo>
                  <a:pt x="10121" y="0"/>
                </a:moveTo>
                <a:cubicBezTo>
                  <a:pt x="15625" y="2919"/>
                  <a:pt x="19601" y="8073"/>
                  <a:pt x="21026" y="14139"/>
                </a:cubicBezTo>
                <a:lnTo>
                  <a:pt x="0" y="19082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/>
            <a:tailEnd type="triangle" w="med" len="med"/>
          </a:ln>
        </p:spPr>
        <p:txBody>
          <a:bodyPr rot="10800000" wrap="none" lIns="36000" tIns="36000" rIns="36000" bIns="36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5" name="Arc 7"/>
          <p:cNvSpPr>
            <a:spLocks/>
          </p:cNvSpPr>
          <p:nvPr userDrawn="1"/>
        </p:nvSpPr>
        <p:spPr bwMode="auto">
          <a:xfrm flipH="1">
            <a:off x="6279300" y="2067387"/>
            <a:ext cx="2278062" cy="1658937"/>
          </a:xfrm>
          <a:custGeom>
            <a:avLst/>
            <a:gdLst>
              <a:gd name="T0" fmla="*/ 2147483647 w 21347"/>
              <a:gd name="T1" fmla="*/ 0 h 19905"/>
              <a:gd name="T2" fmla="*/ 2147483647 w 21347"/>
              <a:gd name="T3" fmla="*/ 2147483647 h 19905"/>
              <a:gd name="T4" fmla="*/ 0 w 21347"/>
              <a:gd name="T5" fmla="*/ 2147483647 h 19905"/>
              <a:gd name="T6" fmla="*/ 0 60000 65536"/>
              <a:gd name="T7" fmla="*/ 0 60000 65536"/>
              <a:gd name="T8" fmla="*/ 0 60000 65536"/>
              <a:gd name="T9" fmla="*/ 0 w 21347"/>
              <a:gd name="T10" fmla="*/ 0 h 19905"/>
              <a:gd name="T11" fmla="*/ 21347 w 21347"/>
              <a:gd name="T12" fmla="*/ 19905 h 1990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347" h="19905" fill="none" extrusionOk="0">
                <a:moveTo>
                  <a:pt x="8386" y="-1"/>
                </a:moveTo>
                <a:cubicBezTo>
                  <a:pt x="15295" y="2910"/>
                  <a:pt x="20201" y="9196"/>
                  <a:pt x="21346" y="16606"/>
                </a:cubicBezTo>
              </a:path>
              <a:path w="21347" h="19905" stroke="0" extrusionOk="0">
                <a:moveTo>
                  <a:pt x="8386" y="-1"/>
                </a:moveTo>
                <a:cubicBezTo>
                  <a:pt x="15295" y="2910"/>
                  <a:pt x="20201" y="9196"/>
                  <a:pt x="21346" y="16606"/>
                </a:cubicBezTo>
                <a:lnTo>
                  <a:pt x="0" y="19905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wrap="none" lIns="36000" tIns="36000" rIns="36000" bIns="36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5" name="Oval 8"/>
          <p:cNvSpPr>
            <a:spLocks noChangeArrowheads="1"/>
          </p:cNvSpPr>
          <p:nvPr userDrawn="1"/>
        </p:nvSpPr>
        <p:spPr bwMode="auto">
          <a:xfrm>
            <a:off x="9048888" y="4635962"/>
            <a:ext cx="1743075" cy="1238250"/>
          </a:xfrm>
          <a:prstGeom prst="ellipse">
            <a:avLst/>
          </a:prstGeom>
          <a:solidFill>
            <a:schemeClr val="accent3"/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ＭＳ Ｐゴシック" pitchFamily="50" charset="-128"/>
                <a:cs typeface="+mn-cs"/>
              </a:rPr>
              <a:t>Text. White. 12PT</a:t>
            </a:r>
          </a:p>
        </p:txBody>
      </p:sp>
      <p:sp>
        <p:nvSpPr>
          <p:cNvPr id="76" name="Oval 9"/>
          <p:cNvSpPr>
            <a:spLocks noChangeArrowheads="1"/>
          </p:cNvSpPr>
          <p:nvPr userDrawn="1"/>
        </p:nvSpPr>
        <p:spPr bwMode="auto">
          <a:xfrm>
            <a:off x="5612550" y="2894474"/>
            <a:ext cx="1738312" cy="1235075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ＭＳ Ｐゴシック" pitchFamily="50" charset="-128"/>
                <a:cs typeface="+mn-cs"/>
              </a:rPr>
              <a:t>Text. White. 12PT</a:t>
            </a:r>
          </a:p>
        </p:txBody>
      </p:sp>
      <p:sp>
        <p:nvSpPr>
          <p:cNvPr id="77" name="Oval 10"/>
          <p:cNvSpPr>
            <a:spLocks noChangeArrowheads="1"/>
          </p:cNvSpPr>
          <p:nvPr userDrawn="1"/>
        </p:nvSpPr>
        <p:spPr bwMode="auto">
          <a:xfrm>
            <a:off x="6571400" y="4635962"/>
            <a:ext cx="1738312" cy="123825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ＭＳ Ｐゴシック" pitchFamily="50" charset="-128"/>
                <a:cs typeface="+mn-cs"/>
              </a:rPr>
              <a:t>Text. White. 12PT</a:t>
            </a:r>
          </a:p>
        </p:txBody>
      </p:sp>
      <p:sp>
        <p:nvSpPr>
          <p:cNvPr id="78" name="Oval 11"/>
          <p:cNvSpPr>
            <a:spLocks noChangeArrowheads="1"/>
          </p:cNvSpPr>
          <p:nvPr userDrawn="1"/>
        </p:nvSpPr>
        <p:spPr bwMode="auto">
          <a:xfrm>
            <a:off x="9835300" y="2894474"/>
            <a:ext cx="1744662" cy="1235075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ＭＳ Ｐゴシック" pitchFamily="50" charset="-128"/>
                <a:cs typeface="+mn-cs"/>
              </a:rPr>
              <a:t>Text. White. 12PT</a:t>
            </a:r>
          </a:p>
        </p:txBody>
      </p:sp>
      <p:sp>
        <p:nvSpPr>
          <p:cNvPr id="79" name="Oval 12"/>
          <p:cNvSpPr>
            <a:spLocks noChangeArrowheads="1"/>
          </p:cNvSpPr>
          <p:nvPr userDrawn="1"/>
        </p:nvSpPr>
        <p:spPr bwMode="auto">
          <a:xfrm>
            <a:off x="7684237" y="1438737"/>
            <a:ext cx="1739900" cy="11890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ＭＳ Ｐゴシック" pitchFamily="50" charset="-128"/>
                <a:cs typeface="+mn-cs"/>
              </a:rPr>
              <a:t>Text. White. 12PT</a:t>
            </a:r>
          </a:p>
        </p:txBody>
      </p:sp>
      <p:sp>
        <p:nvSpPr>
          <p:cNvPr id="80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1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2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569169-6252-4223-9C44-F0DB84BC380C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Sunday, October 19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5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799" y="1698045"/>
            <a:ext cx="4727325" cy="390592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s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63533540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. Strategy Slide - Table 9 Rows /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F3115B7E-4A1F-4068-94A8-022DF01919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2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416" imgH="416" progId="TCLayout.ActiveDocument.1">
                  <p:embed/>
                </p:oleObj>
              </mc:Choice>
              <mc:Fallback>
                <p:oleObj name="Diapositiva de think-cell" r:id="rId5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F3115B7E-4A1F-4068-94A8-022DF01919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CD5BEB3D-5E62-49D0-934F-D286C65AED6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349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ABLE 9 ROWS AND 9 COLUMNS</a:t>
            </a:r>
          </a:p>
        </p:txBody>
      </p:sp>
      <p:graphicFrame>
        <p:nvGraphicFramePr>
          <p:cNvPr id="33" name="Group 3"/>
          <p:cNvGraphicFramePr>
            <a:graphicFrameLocks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59586346"/>
              </p:ext>
            </p:extLst>
          </p:nvPr>
        </p:nvGraphicFramePr>
        <p:xfrm>
          <a:off x="783770" y="1534944"/>
          <a:ext cx="10377812" cy="4317034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16969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33161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1" i="0" u="none" strike="noStrike" kern="1200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34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35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6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FA0C52EB-0F95-46A6-A8EB-EC0398BE66B2}" type="datetime2">
              <a:rPr lang="en-US" smtClean="0"/>
              <a:t>Sunday, October 19, 2025</a:t>
            </a:fld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135852924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. Strategy Slide - Direct Reports Or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255AF908-E693-430C-A758-3A9795ECD2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255AF908-E693-430C-A758-3A9795ECD2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E8F4DA4E-B32C-4478-A3ED-55FDD4938AF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0248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DIRECT REPORTS ORG CHART.</a:t>
            </a:r>
          </a:p>
        </p:txBody>
      </p:sp>
      <p:sp>
        <p:nvSpPr>
          <p:cNvPr id="125" name="Rectangle 124"/>
          <p:cNvSpPr/>
          <p:nvPr/>
        </p:nvSpPr>
        <p:spPr>
          <a:xfrm>
            <a:off x="5428481" y="1565718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81" name="Straight Connector 80"/>
          <p:cNvCxnSpPr/>
          <p:nvPr/>
        </p:nvCxnSpPr>
        <p:spPr>
          <a:xfrm>
            <a:off x="1088796" y="3433191"/>
            <a:ext cx="8490978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/>
          <p:nvPr/>
        </p:nvCxnSpPr>
        <p:spPr>
          <a:xfrm>
            <a:off x="9579775" y="3433191"/>
            <a:ext cx="1481343" cy="0"/>
          </a:xfrm>
          <a:prstGeom prst="line">
            <a:avLst/>
          </a:prstGeom>
          <a:ln w="6350">
            <a:solidFill>
              <a:schemeClr val="tx2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120"/>
          <p:cNvCxnSpPr/>
          <p:nvPr/>
        </p:nvCxnSpPr>
        <p:spPr>
          <a:xfrm>
            <a:off x="9582047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/>
          <p:cNvCxnSpPr/>
          <p:nvPr/>
        </p:nvCxnSpPr>
        <p:spPr>
          <a:xfrm>
            <a:off x="11061118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/>
          <p:cNvCxnSpPr/>
          <p:nvPr/>
        </p:nvCxnSpPr>
        <p:spPr>
          <a:xfrm>
            <a:off x="5302440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/>
          <p:nvPr/>
        </p:nvCxnSpPr>
        <p:spPr>
          <a:xfrm>
            <a:off x="3925703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/>
          <p:cNvCxnSpPr/>
          <p:nvPr/>
        </p:nvCxnSpPr>
        <p:spPr>
          <a:xfrm>
            <a:off x="2513310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/>
          <p:nvPr/>
        </p:nvCxnSpPr>
        <p:spPr>
          <a:xfrm>
            <a:off x="1088796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2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3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FCEDF8-E01B-4D65-B800-77998C5C87E1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Sunday, October 19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5519781" y="1674479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5519781" y="2691366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44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19781" y="2856097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cxnSp>
        <p:nvCxnSpPr>
          <p:cNvPr id="145" name="Straight Connector 144"/>
          <p:cNvCxnSpPr/>
          <p:nvPr/>
        </p:nvCxnSpPr>
        <p:spPr>
          <a:xfrm>
            <a:off x="6057406" y="3086187"/>
            <a:ext cx="0" cy="343134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/>
          <p:cNvCxnSpPr/>
          <p:nvPr/>
        </p:nvCxnSpPr>
        <p:spPr>
          <a:xfrm>
            <a:off x="6760791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/>
          <p:cNvCxnSpPr/>
          <p:nvPr/>
        </p:nvCxnSpPr>
        <p:spPr>
          <a:xfrm>
            <a:off x="8153492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Rectangle 150"/>
          <p:cNvSpPr/>
          <p:nvPr userDrawn="1"/>
        </p:nvSpPr>
        <p:spPr>
          <a:xfrm>
            <a:off x="432838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2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524138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53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24138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54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24138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55" name="Rectangle 154"/>
          <p:cNvSpPr/>
          <p:nvPr userDrawn="1"/>
        </p:nvSpPr>
        <p:spPr>
          <a:xfrm>
            <a:off x="1859057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6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1950357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57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1950357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5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1950357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59" name="Rectangle 158"/>
          <p:cNvSpPr/>
          <p:nvPr userDrawn="1"/>
        </p:nvSpPr>
        <p:spPr>
          <a:xfrm>
            <a:off x="3272950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0" name="Picture Placeholder 4"/>
          <p:cNvSpPr>
            <a:spLocks noGrp="1"/>
          </p:cNvSpPr>
          <p:nvPr>
            <p:ph type="pic" sz="quarter" idx="19" hasCustomPrompt="1"/>
          </p:nvPr>
        </p:nvSpPr>
        <p:spPr>
          <a:xfrm>
            <a:off x="3364250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1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3364250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62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364250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63" name="Rectangle 162"/>
          <p:cNvSpPr/>
          <p:nvPr userDrawn="1"/>
        </p:nvSpPr>
        <p:spPr>
          <a:xfrm>
            <a:off x="4646564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4" name="Picture Placeholder 4"/>
          <p:cNvSpPr>
            <a:spLocks noGrp="1"/>
          </p:cNvSpPr>
          <p:nvPr>
            <p:ph type="pic" sz="quarter" idx="22" hasCustomPrompt="1"/>
          </p:nvPr>
        </p:nvSpPr>
        <p:spPr>
          <a:xfrm>
            <a:off x="4737864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5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737864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66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4737864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67" name="Rectangle 166"/>
          <p:cNvSpPr/>
          <p:nvPr userDrawn="1"/>
        </p:nvSpPr>
        <p:spPr>
          <a:xfrm>
            <a:off x="6100746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8" name="Picture Placeholder 4"/>
          <p:cNvSpPr>
            <a:spLocks noGrp="1"/>
          </p:cNvSpPr>
          <p:nvPr>
            <p:ph type="pic" sz="quarter" idx="25" hasCustomPrompt="1"/>
          </p:nvPr>
        </p:nvSpPr>
        <p:spPr>
          <a:xfrm>
            <a:off x="6192046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9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6192046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0" name="Text Placeholder 7"/>
          <p:cNvSpPr>
            <a:spLocks noGrp="1"/>
          </p:cNvSpPr>
          <p:nvPr>
            <p:ph type="body" sz="quarter" idx="27" hasCustomPrompt="1"/>
          </p:nvPr>
        </p:nvSpPr>
        <p:spPr>
          <a:xfrm>
            <a:off x="6192046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1" name="Rectangle 170"/>
          <p:cNvSpPr/>
          <p:nvPr userDrawn="1"/>
        </p:nvSpPr>
        <p:spPr>
          <a:xfrm>
            <a:off x="7498529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2" name="Picture Placeholder 4"/>
          <p:cNvSpPr>
            <a:spLocks noGrp="1"/>
          </p:cNvSpPr>
          <p:nvPr>
            <p:ph type="pic" sz="quarter" idx="28" hasCustomPrompt="1"/>
          </p:nvPr>
        </p:nvSpPr>
        <p:spPr>
          <a:xfrm>
            <a:off x="7589829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73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7589829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4" name="Text Placeholder 7"/>
          <p:cNvSpPr>
            <a:spLocks noGrp="1"/>
          </p:cNvSpPr>
          <p:nvPr>
            <p:ph type="body" sz="quarter" idx="30" hasCustomPrompt="1"/>
          </p:nvPr>
        </p:nvSpPr>
        <p:spPr>
          <a:xfrm>
            <a:off x="7589829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5" name="Rectangle 174"/>
          <p:cNvSpPr/>
          <p:nvPr userDrawn="1"/>
        </p:nvSpPr>
        <p:spPr>
          <a:xfrm>
            <a:off x="8927502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6" name="Picture Placeholder 4"/>
          <p:cNvSpPr>
            <a:spLocks noGrp="1"/>
          </p:cNvSpPr>
          <p:nvPr>
            <p:ph type="pic" sz="quarter" idx="31" hasCustomPrompt="1"/>
          </p:nvPr>
        </p:nvSpPr>
        <p:spPr>
          <a:xfrm>
            <a:off x="9018802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77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9018802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8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9018802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9" name="Rectangle 178"/>
          <p:cNvSpPr/>
          <p:nvPr userDrawn="1"/>
        </p:nvSpPr>
        <p:spPr>
          <a:xfrm>
            <a:off x="10405847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0" name="Picture Placeholder 4"/>
          <p:cNvSpPr>
            <a:spLocks noGrp="1"/>
          </p:cNvSpPr>
          <p:nvPr>
            <p:ph type="pic" sz="quarter" idx="34" hasCustomPrompt="1"/>
          </p:nvPr>
        </p:nvSpPr>
        <p:spPr>
          <a:xfrm>
            <a:off x="10497147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81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10497147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82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10497147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5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089564118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. Strategy Slide - Company/Function Or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E5A94F79-3A9D-4B26-B0B4-54E0570835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E5A94F79-3A9D-4B26-B0B4-54E0570835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F2FF857E-19FC-4DFA-93C2-FA79EA29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6047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MPANY / FUNCTION ORG CHART.</a:t>
            </a:r>
          </a:p>
        </p:txBody>
      </p:sp>
      <p:cxnSp>
        <p:nvCxnSpPr>
          <p:cNvPr id="143" name="Straight Connector 142"/>
          <p:cNvCxnSpPr>
            <a:stCxn id="210" idx="2"/>
          </p:cNvCxnSpPr>
          <p:nvPr userDrawn="1"/>
        </p:nvCxnSpPr>
        <p:spPr>
          <a:xfrm>
            <a:off x="5367448" y="2111551"/>
            <a:ext cx="0" cy="568149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143"/>
          <p:cNvCxnSpPr/>
          <p:nvPr userDrawn="1"/>
        </p:nvCxnSpPr>
        <p:spPr>
          <a:xfrm flipH="1">
            <a:off x="2979125" y="2530165"/>
            <a:ext cx="485527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ounded Rectangle 144"/>
          <p:cNvSpPr/>
          <p:nvPr userDrawn="1"/>
        </p:nvSpPr>
        <p:spPr>
          <a:xfrm>
            <a:off x="2112960" y="27076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46" name="Straight Connector 145"/>
          <p:cNvCxnSpPr/>
          <p:nvPr userDrawn="1"/>
        </p:nvCxnSpPr>
        <p:spPr>
          <a:xfrm>
            <a:off x="2977056" y="2530165"/>
            <a:ext cx="0" cy="149535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Rounded Rectangle 146"/>
          <p:cNvSpPr/>
          <p:nvPr userDrawn="1"/>
        </p:nvSpPr>
        <p:spPr>
          <a:xfrm>
            <a:off x="1534225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8" name="Rounded Rectangle 147"/>
          <p:cNvSpPr/>
          <p:nvPr userDrawn="1"/>
        </p:nvSpPr>
        <p:spPr>
          <a:xfrm>
            <a:off x="1534225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9" name="Rounded Rectangle 148"/>
          <p:cNvSpPr/>
          <p:nvPr userDrawn="1"/>
        </p:nvSpPr>
        <p:spPr>
          <a:xfrm>
            <a:off x="1534225" y="47400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0" name="Rounded Rectangle 149"/>
          <p:cNvSpPr/>
          <p:nvPr userDrawn="1"/>
        </p:nvSpPr>
        <p:spPr>
          <a:xfrm>
            <a:off x="1534225" y="5376518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51" name="Straight Connector 150"/>
          <p:cNvCxnSpPr/>
          <p:nvPr userDrawn="1"/>
        </p:nvCxnSpPr>
        <p:spPr>
          <a:xfrm>
            <a:off x="3518616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/>
          <p:cNvCxnSpPr/>
          <p:nvPr userDrawn="1"/>
        </p:nvCxnSpPr>
        <p:spPr>
          <a:xfrm flipH="1">
            <a:off x="3331590" y="4350378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/>
          <p:cNvCxnSpPr/>
          <p:nvPr userDrawn="1"/>
        </p:nvCxnSpPr>
        <p:spPr>
          <a:xfrm>
            <a:off x="3697136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/>
          <p:cNvCxnSpPr/>
          <p:nvPr userDrawn="1"/>
        </p:nvCxnSpPr>
        <p:spPr>
          <a:xfrm rot="-5400000">
            <a:off x="3796653" y="5536653"/>
            <a:ext cx="0" cy="201706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ounded Rectangle 157"/>
          <p:cNvSpPr/>
          <p:nvPr userDrawn="1"/>
        </p:nvSpPr>
        <p:spPr>
          <a:xfrm>
            <a:off x="4486666" y="27076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9" name="Rounded Rectangle 158"/>
          <p:cNvSpPr/>
          <p:nvPr userDrawn="1"/>
        </p:nvSpPr>
        <p:spPr>
          <a:xfrm>
            <a:off x="3944993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0" name="Rounded Rectangle 159"/>
          <p:cNvSpPr/>
          <p:nvPr userDrawn="1"/>
        </p:nvSpPr>
        <p:spPr>
          <a:xfrm>
            <a:off x="3944993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1" name="Rounded Rectangle 160"/>
          <p:cNvSpPr/>
          <p:nvPr userDrawn="1"/>
        </p:nvSpPr>
        <p:spPr>
          <a:xfrm>
            <a:off x="3944993" y="47400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2" name="Rounded Rectangle 161"/>
          <p:cNvSpPr/>
          <p:nvPr userDrawn="1"/>
        </p:nvSpPr>
        <p:spPr>
          <a:xfrm>
            <a:off x="3944993" y="5376518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63" name="Straight Connector 162"/>
          <p:cNvCxnSpPr/>
          <p:nvPr userDrawn="1"/>
        </p:nvCxnSpPr>
        <p:spPr>
          <a:xfrm>
            <a:off x="5929384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Connector 163"/>
          <p:cNvCxnSpPr/>
          <p:nvPr userDrawn="1"/>
        </p:nvCxnSpPr>
        <p:spPr>
          <a:xfrm flipH="1">
            <a:off x="5750905" y="3705221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4" name="Rounded Rectangle 173"/>
          <p:cNvSpPr/>
          <p:nvPr userDrawn="1"/>
        </p:nvSpPr>
        <p:spPr>
          <a:xfrm>
            <a:off x="6849249" y="2723664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5" name="Rounded Rectangle 174"/>
          <p:cNvSpPr/>
          <p:nvPr userDrawn="1"/>
        </p:nvSpPr>
        <p:spPr>
          <a:xfrm>
            <a:off x="6307576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6" name="Rounded Rectangle 175"/>
          <p:cNvSpPr/>
          <p:nvPr userDrawn="1"/>
        </p:nvSpPr>
        <p:spPr>
          <a:xfrm>
            <a:off x="6307576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77" name="Straight Connector 176"/>
          <p:cNvCxnSpPr/>
          <p:nvPr userDrawn="1"/>
        </p:nvCxnSpPr>
        <p:spPr>
          <a:xfrm>
            <a:off x="8291967" y="3281832"/>
            <a:ext cx="0" cy="1068546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0" name="Rounded Rectangle 179"/>
          <p:cNvSpPr/>
          <p:nvPr userDrawn="1"/>
        </p:nvSpPr>
        <p:spPr>
          <a:xfrm>
            <a:off x="9018041" y="3445559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1" name="Rounded Rectangle 180"/>
          <p:cNvSpPr/>
          <p:nvPr userDrawn="1"/>
        </p:nvSpPr>
        <p:spPr>
          <a:xfrm>
            <a:off x="8476368" y="417734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2" name="Rounded Rectangle 181"/>
          <p:cNvSpPr/>
          <p:nvPr userDrawn="1"/>
        </p:nvSpPr>
        <p:spPr>
          <a:xfrm>
            <a:off x="8476368" y="4830540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3" name="Rounded Rectangle 182"/>
          <p:cNvSpPr/>
          <p:nvPr userDrawn="1"/>
        </p:nvSpPr>
        <p:spPr>
          <a:xfrm>
            <a:off x="8476368" y="546191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85" name="Straight Connector 184"/>
          <p:cNvCxnSpPr/>
          <p:nvPr userDrawn="1"/>
        </p:nvCxnSpPr>
        <p:spPr>
          <a:xfrm>
            <a:off x="10460759" y="4003727"/>
            <a:ext cx="0" cy="171585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Connector 185"/>
          <p:cNvCxnSpPr/>
          <p:nvPr userDrawn="1"/>
        </p:nvCxnSpPr>
        <p:spPr>
          <a:xfrm flipH="1">
            <a:off x="10291072" y="4427116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Straight Connector 198"/>
          <p:cNvCxnSpPr/>
          <p:nvPr userDrawn="1"/>
        </p:nvCxnSpPr>
        <p:spPr>
          <a:xfrm>
            <a:off x="7834402" y="2530165"/>
            <a:ext cx="0" cy="177457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Straight Connector 199"/>
          <p:cNvCxnSpPr/>
          <p:nvPr userDrawn="1"/>
        </p:nvCxnSpPr>
        <p:spPr>
          <a:xfrm flipH="1">
            <a:off x="6322236" y="1853247"/>
            <a:ext cx="3545494" cy="0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Straight Connector 200"/>
          <p:cNvCxnSpPr/>
          <p:nvPr userDrawn="1"/>
        </p:nvCxnSpPr>
        <p:spPr>
          <a:xfrm flipV="1">
            <a:off x="9867730" y="1852539"/>
            <a:ext cx="0" cy="1560250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Straight Connector 205"/>
          <p:cNvCxnSpPr/>
          <p:nvPr userDrawn="1"/>
        </p:nvCxnSpPr>
        <p:spPr>
          <a:xfrm flipH="1">
            <a:off x="8104941" y="3725455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0" name="Rounded Rectangle 209"/>
          <p:cNvSpPr/>
          <p:nvPr userDrawn="1"/>
        </p:nvSpPr>
        <p:spPr>
          <a:xfrm>
            <a:off x="4486666" y="160589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610101" y="1738623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09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610101" y="1903354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04650" y="2841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2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604650" y="3005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3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976375" y="2841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4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6976375" y="3005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5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2239275" y="2841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6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2239275" y="3005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17" name="Straight Connector 216"/>
          <p:cNvCxnSpPr/>
          <p:nvPr userDrawn="1"/>
        </p:nvCxnSpPr>
        <p:spPr>
          <a:xfrm flipH="1">
            <a:off x="8104941" y="4350930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8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1661425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9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1661425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20" name="Straight Connector 219"/>
          <p:cNvCxnSpPr/>
          <p:nvPr userDrawn="1"/>
        </p:nvCxnSpPr>
        <p:spPr>
          <a:xfrm flipH="1">
            <a:off x="3331590" y="3734428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/>
          <p:cNvCxnSpPr/>
          <p:nvPr userDrawn="1"/>
        </p:nvCxnSpPr>
        <p:spPr>
          <a:xfrm flipH="1">
            <a:off x="3331590" y="5007603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/>
          <p:cNvCxnSpPr/>
          <p:nvPr userDrawn="1"/>
        </p:nvCxnSpPr>
        <p:spPr>
          <a:xfrm flipH="1">
            <a:off x="3331590" y="5633078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1661425" y="424127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4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1661425" y="440600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25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1661425" y="486992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6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1661425" y="503465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27" name="Text Placeholder 7"/>
          <p:cNvSpPr>
            <a:spLocks noGrp="1"/>
          </p:cNvSpPr>
          <p:nvPr>
            <p:ph type="body" sz="quarter" idx="25" hasCustomPrompt="1"/>
          </p:nvPr>
        </p:nvSpPr>
        <p:spPr>
          <a:xfrm>
            <a:off x="1661425" y="5508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8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1661425" y="5672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0" name="Text Placeholder 7"/>
          <p:cNvSpPr>
            <a:spLocks noGrp="1"/>
          </p:cNvSpPr>
          <p:nvPr>
            <p:ph type="body" sz="quarter" idx="27" hasCustomPrompt="1"/>
          </p:nvPr>
        </p:nvSpPr>
        <p:spPr>
          <a:xfrm>
            <a:off x="4063966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1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4063966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2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4063966" y="424127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3" name="Text Placeholder 7"/>
          <p:cNvSpPr>
            <a:spLocks noGrp="1"/>
          </p:cNvSpPr>
          <p:nvPr>
            <p:ph type="body" sz="quarter" idx="30" hasCustomPrompt="1"/>
          </p:nvPr>
        </p:nvSpPr>
        <p:spPr>
          <a:xfrm>
            <a:off x="4063966" y="440600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4" name="Text Placeholder 7"/>
          <p:cNvSpPr>
            <a:spLocks noGrp="1"/>
          </p:cNvSpPr>
          <p:nvPr>
            <p:ph type="body" sz="quarter" idx="31" hasCustomPrompt="1"/>
          </p:nvPr>
        </p:nvSpPr>
        <p:spPr>
          <a:xfrm>
            <a:off x="4063966" y="486992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5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4063966" y="503465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6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4063966" y="5508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7" name="Text Placeholder 7"/>
          <p:cNvSpPr>
            <a:spLocks noGrp="1"/>
          </p:cNvSpPr>
          <p:nvPr>
            <p:ph type="body" sz="quarter" idx="34" hasCustomPrompt="1"/>
          </p:nvPr>
        </p:nvSpPr>
        <p:spPr>
          <a:xfrm>
            <a:off x="4063966" y="5672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5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8600107" y="4312984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46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8600107" y="4477715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7" name="Text Placeholder 7"/>
          <p:cNvSpPr>
            <a:spLocks noGrp="1"/>
          </p:cNvSpPr>
          <p:nvPr>
            <p:ph type="body" sz="quarter" idx="37" hasCustomPrompt="1"/>
          </p:nvPr>
        </p:nvSpPr>
        <p:spPr>
          <a:xfrm>
            <a:off x="8600107" y="4941634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48" name="Text Placeholder 7"/>
          <p:cNvSpPr>
            <a:spLocks noGrp="1"/>
          </p:cNvSpPr>
          <p:nvPr>
            <p:ph type="body" sz="quarter" idx="38" hasCustomPrompt="1"/>
          </p:nvPr>
        </p:nvSpPr>
        <p:spPr>
          <a:xfrm>
            <a:off x="8600107" y="5106365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9" name="Text Placeholder 7"/>
          <p:cNvSpPr>
            <a:spLocks noGrp="1"/>
          </p:cNvSpPr>
          <p:nvPr>
            <p:ph type="body" sz="quarter" idx="39" hasCustomPrompt="1"/>
          </p:nvPr>
        </p:nvSpPr>
        <p:spPr>
          <a:xfrm>
            <a:off x="8600107" y="5579809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0" name="Text Placeholder 7"/>
          <p:cNvSpPr>
            <a:spLocks noGrp="1"/>
          </p:cNvSpPr>
          <p:nvPr>
            <p:ph type="body" sz="quarter" idx="40" hasCustomPrompt="1"/>
          </p:nvPr>
        </p:nvSpPr>
        <p:spPr>
          <a:xfrm>
            <a:off x="8600107" y="5744540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1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6436625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2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6436625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3" name="Text Placeholder 7"/>
          <p:cNvSpPr>
            <a:spLocks noGrp="1"/>
          </p:cNvSpPr>
          <p:nvPr>
            <p:ph type="body" sz="quarter" idx="43" hasCustomPrompt="1"/>
          </p:nvPr>
        </p:nvSpPr>
        <p:spPr>
          <a:xfrm>
            <a:off x="6436625" y="424127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4" name="Text Placeholder 7"/>
          <p:cNvSpPr>
            <a:spLocks noGrp="1"/>
          </p:cNvSpPr>
          <p:nvPr>
            <p:ph type="body" sz="quarter" idx="44" hasCustomPrompt="1"/>
          </p:nvPr>
        </p:nvSpPr>
        <p:spPr>
          <a:xfrm>
            <a:off x="6436625" y="440600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5" name="Text Placeholder 7"/>
          <p:cNvSpPr>
            <a:spLocks noGrp="1"/>
          </p:cNvSpPr>
          <p:nvPr>
            <p:ph type="body" sz="quarter" idx="45" hasCustomPrompt="1"/>
          </p:nvPr>
        </p:nvSpPr>
        <p:spPr>
          <a:xfrm>
            <a:off x="9161895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6" name="Text Placeholder 7"/>
          <p:cNvSpPr>
            <a:spLocks noGrp="1"/>
          </p:cNvSpPr>
          <p:nvPr>
            <p:ph type="body" sz="quarter" idx="46" hasCustomPrompt="1"/>
          </p:nvPr>
        </p:nvSpPr>
        <p:spPr>
          <a:xfrm>
            <a:off x="9161895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57" name="Straight Connector 256"/>
          <p:cNvCxnSpPr/>
          <p:nvPr userDrawn="1"/>
        </p:nvCxnSpPr>
        <p:spPr>
          <a:xfrm flipH="1">
            <a:off x="10291072" y="5104123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8" name="Straight Connector 257"/>
          <p:cNvCxnSpPr/>
          <p:nvPr userDrawn="1"/>
        </p:nvCxnSpPr>
        <p:spPr>
          <a:xfrm flipH="1">
            <a:off x="10291072" y="5719585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9" name="Straight Connector 258"/>
          <p:cNvCxnSpPr/>
          <p:nvPr userDrawn="1"/>
        </p:nvCxnSpPr>
        <p:spPr>
          <a:xfrm flipH="1">
            <a:off x="5750905" y="4377832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0" name="Straight Connector 259"/>
          <p:cNvCxnSpPr/>
          <p:nvPr userDrawn="1"/>
        </p:nvCxnSpPr>
        <p:spPr>
          <a:xfrm flipH="1">
            <a:off x="5750905" y="5024067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Straight Connector 260"/>
          <p:cNvCxnSpPr/>
          <p:nvPr userDrawn="1"/>
        </p:nvCxnSpPr>
        <p:spPr>
          <a:xfrm flipH="1">
            <a:off x="5750905" y="5630736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100391135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. Strategy Slid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ACFBB21C-610C-4479-8329-40032A76CE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ACFBB21C-610C-4479-8329-40032A76CE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5D26391B-1B66-41F8-9FF7-E099C58466D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58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BLANK SLIDE FOR BESPOKE USE.</a:t>
            </a:r>
          </a:p>
        </p:txBody>
      </p:sp>
      <p:sp>
        <p:nvSpPr>
          <p:cNvPr id="7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C599CF-32FC-4546-9071-AED32C48D7AE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Sunday, October 19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496685086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. Strategy Slide Blank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5F9DF8BF-4474-44F7-AE1B-863796BE7E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5F9DF8BF-4474-44F7-AE1B-863796BE7E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723BE91F-E086-4328-991A-FA2D4453FC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885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NFIDENTIAL SLIDE.</a:t>
            </a:r>
          </a:p>
        </p:txBody>
      </p:sp>
      <p:sp>
        <p:nvSpPr>
          <p:cNvPr id="5" name="Parallelogram 4"/>
          <p:cNvSpPr/>
          <p:nvPr userDrawn="1"/>
        </p:nvSpPr>
        <p:spPr>
          <a:xfrm rot="10800000" flipH="1">
            <a:off x="9353004" y="3501"/>
            <a:ext cx="1514367" cy="998836"/>
          </a:xfrm>
          <a:prstGeom prst="parallelogram">
            <a:avLst>
              <a:gd name="adj" fmla="val 100977"/>
            </a:avLst>
          </a:prstGeom>
          <a:solidFill>
            <a:schemeClr val="accent4"/>
          </a:solidFill>
          <a:ln>
            <a:noFill/>
          </a:ln>
          <a:effectLst>
            <a:outerShdw blurRad="381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 rot="2653766">
            <a:off x="9346483" y="320608"/>
            <a:ext cx="1546873" cy="3552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NFIDENTIAL</a:t>
            </a:r>
          </a:p>
        </p:txBody>
      </p:sp>
      <p:sp>
        <p:nvSpPr>
          <p:cNvPr id="6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5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5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A336D7-3FB4-4A6A-9BA5-C8918FC89344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Sunday, October 19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034282175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. Strategy Slide Executiv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DC98AC7D-41B1-4045-9CA8-8517755F5A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DC98AC7D-41B1-4045-9CA8-8517755F5A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DD66F303-136E-4BA9-A511-851CF4B7E5A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04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EXECUTIVE SUMMARY SLIDE.</a:t>
            </a:r>
          </a:p>
        </p:txBody>
      </p:sp>
      <p:sp>
        <p:nvSpPr>
          <p:cNvPr id="35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736571" y="1548820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| 01</a:t>
            </a:r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557293" y="1550217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br>
              <a:rPr lang="en-US"/>
            </a:br>
            <a:r>
              <a:rPr lang="en-US"/>
              <a:t>• 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38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36571" y="2462733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| 02</a:t>
            </a:r>
          </a:p>
        </p:txBody>
      </p:sp>
      <p:sp>
        <p:nvSpPr>
          <p:cNvPr id="41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36570" y="3380924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/>
              <a:t>| 03</a:t>
            </a:r>
          </a:p>
        </p:txBody>
      </p:sp>
      <p:sp>
        <p:nvSpPr>
          <p:cNvPr id="44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736570" y="4298839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| 04</a:t>
            </a:r>
          </a:p>
        </p:txBody>
      </p:sp>
      <p:sp>
        <p:nvSpPr>
          <p:cNvPr id="50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736570" y="5184791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| 05</a:t>
            </a:r>
          </a:p>
        </p:txBody>
      </p:sp>
      <p:sp>
        <p:nvSpPr>
          <p:cNvPr id="52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1557293" y="2462733"/>
            <a:ext cx="5284941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br>
              <a:rPr lang="en-US"/>
            </a:br>
            <a:r>
              <a:rPr lang="en-US"/>
              <a:t>• Lea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</a:p>
        </p:txBody>
      </p:sp>
      <p:sp>
        <p:nvSpPr>
          <p:cNvPr id="53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1557293" y="3376282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br>
              <a:rPr lang="en-US"/>
            </a:br>
            <a:r>
              <a:rPr lang="en-US"/>
              <a:t>•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endParaRPr lang="en-US"/>
          </a:p>
        </p:txBody>
      </p:sp>
      <p:sp>
        <p:nvSpPr>
          <p:cNvPr id="54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1557293" y="4297539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br>
              <a:rPr lang="en-US"/>
            </a:br>
            <a:r>
              <a:rPr lang="en-US"/>
              <a:t>•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 </a:t>
            </a:r>
            <a:r>
              <a:rPr lang="en-US" err="1"/>
              <a:t>prompta</a:t>
            </a:r>
            <a:r>
              <a:rPr lang="en-US"/>
              <a:t> qui no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55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1557293" y="5187109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imperdie</a:t>
            </a:r>
            <a:br>
              <a:rPr lang="en-US"/>
            </a:br>
            <a:r>
              <a:rPr lang="en-US"/>
              <a:t>•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</a:p>
        </p:txBody>
      </p:sp>
      <p:sp>
        <p:nvSpPr>
          <p:cNvPr id="5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B8EB3F-64B7-4D6B-8899-ACCCE5991EAA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Sunday, October 19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614343116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1" y="1594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73" imgH="473" progId="TCLayout.ActiveDocument.1">
                  <p:embed/>
                </p:oleObj>
              </mc:Choice>
              <mc:Fallback>
                <p:oleObj name="Diapositiva de think-cell" r:id="rId4" imgW="473" imgH="47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1" y="1594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85A802FE-64CC-49B5-BA41-463B2789FDB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D05E536-226C-4ACD-A419-14AC5EC82C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809" y="217464"/>
            <a:ext cx="10512000" cy="435600"/>
          </a:xfrm>
          <a:prstGeom prst="rect">
            <a:avLst/>
          </a:prstGeom>
        </p:spPr>
        <p:txBody>
          <a:bodyPr wrap="square" lIns="0" rIns="0"/>
          <a:lstStyle>
            <a:lvl1pPr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090863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7">
          <p15:clr>
            <a:srgbClr val="FBAE40"/>
          </p15:clr>
        </p15:guide>
        <p15:guide id="2" pos="2880">
          <p15:clr>
            <a:srgbClr val="FBAE40"/>
          </p15:clr>
        </p15:guide>
        <p15:guide id="3" pos="187">
          <p15:clr>
            <a:srgbClr val="FBAE40"/>
          </p15:clr>
        </p15:guide>
        <p15:guide id="4" pos="5573">
          <p15:clr>
            <a:srgbClr val="FBAE40"/>
          </p15:clr>
        </p15:guide>
        <p15:guide id="5" orient="horz" pos="743">
          <p15:clr>
            <a:srgbClr val="FBAE40"/>
          </p15:clr>
        </p15:guide>
        <p15:guide id="6" orient="horz" pos="4031">
          <p15:clr>
            <a:srgbClr val="FBAE40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 Orang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CF76D5CA-7EF6-4E33-8DB9-EA5123A3FF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CF76D5CA-7EF6-4E33-8DB9-EA5123A3FF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A262658B-BCDD-4E6C-999E-ED8C721089B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0" y="0"/>
            <a:ext cx="12191999" cy="4733453"/>
          </a:xfrm>
          <a:prstGeom prst="rect">
            <a:avLst/>
          </a:prstGeom>
          <a:gradFill>
            <a:gsLst>
              <a:gs pos="0">
                <a:schemeClr val="bg2"/>
              </a:gs>
              <a:gs pos="100000">
                <a:schemeClr val="bg2">
                  <a:lumMod val="50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Rounded Rectangle 33"/>
          <p:cNvSpPr/>
          <p:nvPr userDrawn="1"/>
        </p:nvSpPr>
        <p:spPr>
          <a:xfrm>
            <a:off x="2552617" y="4351843"/>
            <a:ext cx="1148080" cy="450932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35" name="Straight Connector 34"/>
          <p:cNvCxnSpPr/>
          <p:nvPr userDrawn="1"/>
        </p:nvCxnSpPr>
        <p:spPr>
          <a:xfrm>
            <a:off x="2548398" y="4712870"/>
            <a:ext cx="1144933" cy="0"/>
          </a:xfrm>
          <a:prstGeom prst="line">
            <a:avLst/>
          </a:prstGeom>
          <a:ln w="38100">
            <a:solidFill>
              <a:schemeClr val="tx1"/>
            </a:solidFill>
            <a:headEnd type="none" w="med" len="med"/>
            <a:tailEnd type="none" w="med" len="med"/>
          </a:ln>
          <a:effectLst>
            <a:outerShdw blurRad="50800" dist="12700" dir="16200000" rotWithShape="0">
              <a:schemeClr val="tx1">
                <a:lumMod val="50000"/>
                <a:alpha val="85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ounded Rectangle 35"/>
          <p:cNvSpPr/>
          <p:nvPr userDrawn="1"/>
        </p:nvSpPr>
        <p:spPr>
          <a:xfrm>
            <a:off x="1366112" y="4351843"/>
            <a:ext cx="1148080" cy="450932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37" name="Straight Connector 36"/>
          <p:cNvCxnSpPr/>
          <p:nvPr userDrawn="1"/>
        </p:nvCxnSpPr>
        <p:spPr>
          <a:xfrm>
            <a:off x="1370281" y="4712870"/>
            <a:ext cx="1144933" cy="0"/>
          </a:xfrm>
          <a:prstGeom prst="line">
            <a:avLst/>
          </a:prstGeom>
          <a:ln w="38100">
            <a:solidFill>
              <a:schemeClr val="tx1"/>
            </a:solidFill>
            <a:headEnd type="none" w="med" len="med"/>
            <a:tailEnd type="none" w="med" len="med"/>
          </a:ln>
          <a:effectLst>
            <a:outerShdw blurRad="50800" dist="12700" dir="16200000" rotWithShape="0">
              <a:schemeClr val="tx1">
                <a:lumMod val="50000"/>
                <a:alpha val="85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ounded Rectangle 37"/>
          <p:cNvSpPr/>
          <p:nvPr userDrawn="1"/>
        </p:nvSpPr>
        <p:spPr>
          <a:xfrm>
            <a:off x="182404" y="4351843"/>
            <a:ext cx="1148080" cy="450932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TextBox 38"/>
          <p:cNvSpPr txBox="1"/>
          <p:nvPr userDrawn="1"/>
        </p:nvSpPr>
        <p:spPr>
          <a:xfrm>
            <a:off x="223643" y="4261406"/>
            <a:ext cx="1119423" cy="61555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rt of Liberty Latin America</a:t>
            </a:r>
          </a:p>
        </p:txBody>
      </p:sp>
      <p:pic>
        <p:nvPicPr>
          <p:cNvPr id="40" name="Picture 3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144" t="13098" r="7849" b="8586"/>
          <a:stretch/>
        </p:blipFill>
        <p:spPr>
          <a:xfrm>
            <a:off x="310601" y="4409887"/>
            <a:ext cx="873110" cy="232210"/>
          </a:xfrm>
          <a:prstGeom prst="rect">
            <a:avLst/>
          </a:prstGeom>
          <a:effectLst/>
        </p:spPr>
      </p:pic>
      <p:cxnSp>
        <p:nvCxnSpPr>
          <p:cNvPr id="41" name="Straight Connector 40"/>
          <p:cNvCxnSpPr/>
          <p:nvPr userDrawn="1"/>
        </p:nvCxnSpPr>
        <p:spPr>
          <a:xfrm flipV="1">
            <a:off x="182404" y="4719044"/>
            <a:ext cx="1149102" cy="14409"/>
          </a:xfrm>
          <a:prstGeom prst="line">
            <a:avLst/>
          </a:prstGeom>
          <a:ln w="38100">
            <a:solidFill>
              <a:schemeClr val="accent6">
                <a:lumMod val="50000"/>
              </a:schemeClr>
            </a:solidFill>
            <a:headEnd type="none" w="med" len="med"/>
            <a:tailEnd type="none" w="med" len="med"/>
          </a:ln>
          <a:effectLst>
            <a:outerShdw blurRad="50800" dist="12700" dir="16200000" rotWithShape="0">
              <a:schemeClr val="tx1">
                <a:lumMod val="50000"/>
                <a:alpha val="85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2" name="Picture 41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4123" y="4362840"/>
            <a:ext cx="692427" cy="325697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0811" y="4387517"/>
            <a:ext cx="653109" cy="268150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402383"/>
            <a:ext cx="2743200" cy="271225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D5DCD9-9198-45AC-A2C5-2305FD5E1921}" type="datetime2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E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Sunday, October 19, 2025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3E383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5143500"/>
            <a:ext cx="9939866" cy="529167"/>
          </a:xfrm>
          <a:prstGeom prst="rect">
            <a:avLst/>
          </a:prstGeom>
        </p:spPr>
        <p:txBody>
          <a:bodyPr lIns="0" tIns="0" rIns="0" bIns="0"/>
          <a:lstStyle>
            <a:lvl1pPr>
              <a:defRPr baseline="0"/>
            </a:lvl1pPr>
          </a:lstStyle>
          <a:p>
            <a:r>
              <a:rPr lang="en-US"/>
              <a:t>GENERAL DIVIDER | UPPERCASE ONLY | 32P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5742569"/>
            <a:ext cx="9939867" cy="345184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aseline="0"/>
            </a:lvl1pPr>
          </a:lstStyle>
          <a:p>
            <a:pPr lvl="0"/>
            <a:r>
              <a:rPr lang="en-US"/>
              <a:t>GENERAL DIVIDER SUB HEADING | UPPERCASE ONLY | 18PT</a:t>
            </a:r>
          </a:p>
        </p:txBody>
      </p:sp>
      <p:pic>
        <p:nvPicPr>
          <p:cNvPr id="76" name="Picture 75"/>
          <p:cNvPicPr>
            <a:picLocks noChangeAspect="1"/>
          </p:cNvPicPr>
          <p:nvPr userDrawn="1"/>
        </p:nvPicPr>
        <p:blipFill rotWithShape="1">
          <a:blip r:embed="rId9" cstate="email">
            <a:alphaModFix amt="3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19861" y="0"/>
            <a:ext cx="2372139" cy="4802775"/>
          </a:xfrm>
          <a:prstGeom prst="rect">
            <a:avLst/>
          </a:prstGeom>
          <a:effectLst/>
        </p:spPr>
      </p:pic>
      <p:sp>
        <p:nvSpPr>
          <p:cNvPr id="96" name="Rectangle 95"/>
          <p:cNvSpPr/>
          <p:nvPr userDrawn="1"/>
        </p:nvSpPr>
        <p:spPr>
          <a:xfrm>
            <a:off x="0" y="4730154"/>
            <a:ext cx="12191999" cy="2826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97" name="Straight Connector 96"/>
          <p:cNvCxnSpPr/>
          <p:nvPr userDrawn="1"/>
        </p:nvCxnSpPr>
        <p:spPr>
          <a:xfrm>
            <a:off x="0" y="4715383"/>
            <a:ext cx="12191999" cy="0"/>
          </a:xfrm>
          <a:prstGeom prst="line">
            <a:avLst/>
          </a:prstGeom>
          <a:ln w="38100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8200905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93" imgH="493" progId="TCLayout.ActiveDocument.1">
                  <p:embed/>
                </p:oleObj>
              </mc:Choice>
              <mc:Fallback>
                <p:oleObj name="Diapositiva de think-cell" r:id="rId3" imgW="493" imgH="493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419" y="102818"/>
            <a:ext cx="11778796" cy="29313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470140" y="1306077"/>
            <a:ext cx="11251729" cy="509677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altLang="zh-CN" sz="2172" kern="1200" baseline="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48093" lvl="0" indent="-249436" algn="l" defTabSz="901473" rtl="0" eaLnBrk="1" fontAlgn="base" latinLnBrk="0" hangingPunct="1">
              <a:lnSpc>
                <a:spcPct val="150000"/>
              </a:lnSpc>
              <a:spcBef>
                <a:spcPts val="551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</a:pPr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3731355146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ront Cover Slide - Market Op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02BE58E-0401-4D72-91AA-3CD4318FED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592" imgH="591" progId="TCLayout.ActiveDocument.1">
                  <p:embed/>
                </p:oleObj>
              </mc:Choice>
              <mc:Fallback>
                <p:oleObj name="Diapositiva de think-cell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02BE58E-0401-4D72-91AA-3CD4318FE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00B9010-66AE-4CC6-9D8C-02E06F29DA9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pic>
        <p:nvPicPr>
          <p:cNvPr id="40962" name="Picture 2" descr="Image result for panama">
            <a:extLst>
              <a:ext uri="{FF2B5EF4-FFF2-40B4-BE49-F238E27FC236}">
                <a16:creationId xmlns:a16="http://schemas.microsoft.com/office/drawing/2014/main" id="{F1101C64-6F30-4C31-8DDD-DE934667305D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546395"/>
            <a:ext cx="12191999" cy="5244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Rounded Rectangle 33"/>
          <p:cNvSpPr/>
          <p:nvPr userDrawn="1"/>
        </p:nvSpPr>
        <p:spPr>
          <a:xfrm>
            <a:off x="2552617" y="4351843"/>
            <a:ext cx="1148080" cy="450932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35" name="Straight Connector 34"/>
          <p:cNvCxnSpPr/>
          <p:nvPr userDrawn="1"/>
        </p:nvCxnSpPr>
        <p:spPr>
          <a:xfrm>
            <a:off x="2548398" y="4712870"/>
            <a:ext cx="1144933" cy="0"/>
          </a:xfrm>
          <a:prstGeom prst="line">
            <a:avLst/>
          </a:prstGeom>
          <a:ln w="38100">
            <a:solidFill>
              <a:schemeClr val="tx1"/>
            </a:solidFill>
            <a:headEnd type="none" w="med" len="med"/>
            <a:tailEnd type="none" w="med" len="med"/>
          </a:ln>
          <a:effectLst>
            <a:outerShdw blurRad="50800" dist="12700" dir="16200000" rotWithShape="0">
              <a:schemeClr val="tx1">
                <a:lumMod val="50000"/>
                <a:alpha val="85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ounded Rectangle 35"/>
          <p:cNvSpPr/>
          <p:nvPr userDrawn="1"/>
        </p:nvSpPr>
        <p:spPr>
          <a:xfrm>
            <a:off x="1366112" y="4351843"/>
            <a:ext cx="1148080" cy="450932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37" name="Straight Connector 36"/>
          <p:cNvCxnSpPr/>
          <p:nvPr userDrawn="1"/>
        </p:nvCxnSpPr>
        <p:spPr>
          <a:xfrm>
            <a:off x="1370281" y="4712870"/>
            <a:ext cx="1144933" cy="0"/>
          </a:xfrm>
          <a:prstGeom prst="line">
            <a:avLst/>
          </a:prstGeom>
          <a:ln w="38100">
            <a:solidFill>
              <a:schemeClr val="tx1"/>
            </a:solidFill>
            <a:headEnd type="none" w="med" len="med"/>
            <a:tailEnd type="none" w="med" len="med"/>
          </a:ln>
          <a:effectLst>
            <a:outerShdw blurRad="50800" dist="12700" dir="16200000" rotWithShape="0">
              <a:schemeClr val="tx1">
                <a:lumMod val="50000"/>
                <a:alpha val="85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ounded Rectangle 37"/>
          <p:cNvSpPr/>
          <p:nvPr userDrawn="1"/>
        </p:nvSpPr>
        <p:spPr>
          <a:xfrm>
            <a:off x="182404" y="4351843"/>
            <a:ext cx="1148080" cy="450932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TextBox 38"/>
          <p:cNvSpPr txBox="1"/>
          <p:nvPr userDrawn="1"/>
        </p:nvSpPr>
        <p:spPr>
          <a:xfrm>
            <a:off x="223643" y="4261406"/>
            <a:ext cx="1119423" cy="61555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rt of Liberty Latin America</a:t>
            </a:r>
          </a:p>
        </p:txBody>
      </p:sp>
      <p:pic>
        <p:nvPicPr>
          <p:cNvPr id="40" name="Picture 39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0601" y="4409887"/>
            <a:ext cx="873110" cy="232210"/>
          </a:xfrm>
          <a:prstGeom prst="rect">
            <a:avLst/>
          </a:prstGeom>
          <a:effectLst/>
        </p:spPr>
      </p:pic>
      <p:cxnSp>
        <p:nvCxnSpPr>
          <p:cNvPr id="41" name="Straight Connector 40"/>
          <p:cNvCxnSpPr/>
          <p:nvPr userDrawn="1"/>
        </p:nvCxnSpPr>
        <p:spPr>
          <a:xfrm flipV="1">
            <a:off x="182404" y="4719044"/>
            <a:ext cx="1149102" cy="14409"/>
          </a:xfrm>
          <a:prstGeom prst="line">
            <a:avLst/>
          </a:prstGeom>
          <a:ln w="38100">
            <a:solidFill>
              <a:schemeClr val="accent6">
                <a:lumMod val="50000"/>
              </a:schemeClr>
            </a:solidFill>
            <a:headEnd type="none" w="med" len="med"/>
            <a:tailEnd type="none" w="med" len="med"/>
          </a:ln>
          <a:effectLst>
            <a:outerShdw blurRad="50800" dist="12700" dir="16200000" rotWithShape="0">
              <a:schemeClr val="tx1">
                <a:lumMod val="50000"/>
                <a:alpha val="85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2" name="Picture 41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4123" y="4362840"/>
            <a:ext cx="692427" cy="325697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0811" y="4387517"/>
            <a:ext cx="653109" cy="268150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402383"/>
            <a:ext cx="2743200" cy="271225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162CEA-C007-4B27-A0CB-BFAA25D22CBC}" type="datetime2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3E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Sunday, 19 October 2025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3E383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5143500"/>
            <a:ext cx="9939866" cy="529167"/>
          </a:xfrm>
          <a:prstGeom prst="rect">
            <a:avLst/>
          </a:prstGeom>
        </p:spPr>
        <p:txBody>
          <a:bodyPr lIns="0" tIns="0" rIns="0" bIns="0"/>
          <a:lstStyle>
            <a:lvl1pPr>
              <a:defRPr baseline="0"/>
            </a:lvl1pPr>
          </a:lstStyle>
          <a:p>
            <a:r>
              <a:rPr lang="en-US"/>
              <a:t>FRONT COVER SLIDE | UPPERCASE ONLY | 32P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5742569"/>
            <a:ext cx="9939867" cy="345184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aseline="0"/>
            </a:lvl1pPr>
          </a:lstStyle>
          <a:p>
            <a:pPr lvl="0"/>
            <a:r>
              <a:rPr lang="en-US"/>
              <a:t>FRONT COVER SUB HEADING | UPPERCASE ONLY | 18PT</a:t>
            </a:r>
          </a:p>
        </p:txBody>
      </p:sp>
      <p:pic>
        <p:nvPicPr>
          <p:cNvPr id="57" name="Picture 56"/>
          <p:cNvPicPr>
            <a:picLocks noChangeAspect="1"/>
          </p:cNvPicPr>
          <p:nvPr userDrawn="1"/>
        </p:nvPicPr>
        <p:blipFill rotWithShape="1">
          <a:blip r:embed="rId10" cstate="screen">
            <a:alphaModFix amt="3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19861" y="0"/>
            <a:ext cx="2372139" cy="4802775"/>
          </a:xfrm>
          <a:prstGeom prst="rect">
            <a:avLst/>
          </a:prstGeom>
          <a:effectLst/>
        </p:spPr>
      </p:pic>
      <p:sp>
        <p:nvSpPr>
          <p:cNvPr id="116" name="Rectangle 115"/>
          <p:cNvSpPr/>
          <p:nvPr userDrawn="1"/>
        </p:nvSpPr>
        <p:spPr>
          <a:xfrm>
            <a:off x="0" y="4730154"/>
            <a:ext cx="12191999" cy="2826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17" name="Straight Connector 116"/>
          <p:cNvCxnSpPr/>
          <p:nvPr userDrawn="1"/>
        </p:nvCxnSpPr>
        <p:spPr>
          <a:xfrm>
            <a:off x="0" y="4715383"/>
            <a:ext cx="12191999" cy="0"/>
          </a:xfrm>
          <a:prstGeom prst="line">
            <a:avLst/>
          </a:prstGeom>
          <a:ln w="381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9687287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ront Cover Slide - Fibre Optic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group of people posing for the camera&#10;&#10;Description automatically generated">
            <a:extLst>
              <a:ext uri="{FF2B5EF4-FFF2-40B4-BE49-F238E27FC236}">
                <a16:creationId xmlns:a16="http://schemas.microsoft.com/office/drawing/2014/main" id="{23685639-7271-BD48-B67A-49D8BB4200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6" t="13118" r="80" b="28873"/>
          <a:stretch/>
        </p:blipFill>
        <p:spPr>
          <a:xfrm>
            <a:off x="-2892" y="0"/>
            <a:ext cx="12204831" cy="4724418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 rotWithShape="1">
          <a:blip r:embed="rId3">
            <a:alphaModFix amt="3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35" r="55556"/>
          <a:stretch/>
        </p:blipFill>
        <p:spPr>
          <a:xfrm>
            <a:off x="9819861" y="0"/>
            <a:ext cx="2372139" cy="4802775"/>
          </a:xfrm>
          <a:prstGeom prst="rect">
            <a:avLst/>
          </a:prstGeom>
          <a:effectLst/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402383"/>
            <a:ext cx="2743200" cy="271225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F47BFBC2-D8BC-8A4E-B07D-C5EC72FEF2B2}" type="datetime2">
              <a:rPr lang="en-GB" smtClean="0"/>
              <a:pPr/>
              <a:t>Sunday, 19 October 2025</a:t>
            </a:fld>
            <a:endParaRPr lang="en-US"/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5143500"/>
            <a:ext cx="9939866" cy="529167"/>
          </a:xfrm>
          <a:prstGeom prst="rect">
            <a:avLst/>
          </a:prstGeom>
        </p:spPr>
        <p:txBody>
          <a:bodyPr lIns="0" tIns="0" rIns="0" bIns="0"/>
          <a:lstStyle>
            <a:lvl1pPr>
              <a:defRPr baseline="0"/>
            </a:lvl1pPr>
          </a:lstStyle>
          <a:p>
            <a:r>
              <a:rPr lang="en-US" dirty="0"/>
              <a:t>FRONT COVER SLIDE | UPPERCASE ONLY | 32P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5742569"/>
            <a:ext cx="9939867" cy="345184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aseline="0"/>
            </a:lvl1pPr>
          </a:lstStyle>
          <a:p>
            <a:pPr lvl="0"/>
            <a:r>
              <a:rPr lang="en-US" dirty="0"/>
              <a:t>FRONT COVER SUB HEADING | UPPERCASE ONLY | 18PT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6AD402A-4E56-7342-B542-96A77E310708}"/>
              </a:ext>
            </a:extLst>
          </p:cNvPr>
          <p:cNvSpPr/>
          <p:nvPr userDrawn="1"/>
        </p:nvSpPr>
        <p:spPr>
          <a:xfrm>
            <a:off x="1" y="4736417"/>
            <a:ext cx="12191999" cy="282699"/>
          </a:xfrm>
          <a:prstGeom prst="rect">
            <a:avLst/>
          </a:prstGeom>
          <a:solidFill>
            <a:srgbClr val="3D38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319D04B9-5608-6F46-8709-8467B4517936}"/>
              </a:ext>
            </a:extLst>
          </p:cNvPr>
          <p:cNvCxnSpPr/>
          <p:nvPr userDrawn="1"/>
        </p:nvCxnSpPr>
        <p:spPr>
          <a:xfrm>
            <a:off x="0" y="4722327"/>
            <a:ext cx="12192000" cy="0"/>
          </a:xfrm>
          <a:prstGeom prst="line">
            <a:avLst/>
          </a:prstGeom>
          <a:ln w="38100">
            <a:solidFill>
              <a:srgbClr val="FF410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26170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. Strategy Slide - Table 4 Rows /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E879D304-3645-4A8A-A35F-4B024430F4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143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416" imgH="416" progId="TCLayout.ActiveDocument.1">
                  <p:embed/>
                </p:oleObj>
              </mc:Choice>
              <mc:Fallback>
                <p:oleObj name="Diapositiva de think-cell" r:id="rId5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E879D304-3645-4A8A-A35F-4B024430F4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5EAFE1C7-DBDD-47B0-A3D2-F2F9F7AD560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2511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ABLE 3 COLUMNS 4 ROWS</a:t>
            </a:r>
          </a:p>
        </p:txBody>
      </p:sp>
      <p:graphicFrame>
        <p:nvGraphicFramePr>
          <p:cNvPr id="34" name="Group 4"/>
          <p:cNvGraphicFramePr>
            <a:graphicFrameLocks noGrp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77833515"/>
              </p:ext>
            </p:extLst>
          </p:nvPr>
        </p:nvGraphicFramePr>
        <p:xfrm>
          <a:off x="954157" y="1584125"/>
          <a:ext cx="10207427" cy="4260849"/>
        </p:xfrm>
        <a:graphic>
          <a:graphicData uri="http://schemas.openxmlformats.org/drawingml/2006/table">
            <a:tbl>
              <a:tblPr/>
              <a:tblGrid>
                <a:gridCol w="11565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169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169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169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1942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endParaRPr kumimoji="0" lang="en-US" sz="1100" b="0" i="1" u="none" strike="noStrike" cap="none" normalizeH="0" baseline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</a:endParaRP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71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..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9141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2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9383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3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8898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4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3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D961E237-91CC-407C-BFC7-3B142DD1CA7B}" type="datetime2">
              <a:rPr lang="en-US" smtClean="0"/>
              <a:t>Sunday, October 19, 2025</a:t>
            </a:fld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822175739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. HR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1999" cy="4733453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2">
                  <a:lumMod val="50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402383"/>
            <a:ext cx="2743200" cy="271225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F47BFBC2-D8BC-8A4E-B07D-C5EC72FEF2B2}" type="datetime2">
              <a:rPr lang="en-GB" smtClean="0"/>
              <a:pPr/>
              <a:t>Sunday, 19 October 2025</a:t>
            </a:fld>
            <a:endParaRPr lang="en-US"/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5143500"/>
            <a:ext cx="9939866" cy="529167"/>
          </a:xfrm>
          <a:prstGeom prst="rect">
            <a:avLst/>
          </a:prstGeom>
        </p:spPr>
        <p:txBody>
          <a:bodyPr lIns="0" tIns="0" rIns="0" bIns="0"/>
          <a:lstStyle>
            <a:lvl1pPr>
              <a:defRPr baseline="0"/>
            </a:lvl1pPr>
          </a:lstStyle>
          <a:p>
            <a:r>
              <a:rPr lang="en-US" dirty="0"/>
              <a:t>HR DIVIDER | UPPERCASE ONLY | 32P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5742569"/>
            <a:ext cx="9939867" cy="345184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aseline="0"/>
            </a:lvl1pPr>
          </a:lstStyle>
          <a:p>
            <a:pPr lvl="0"/>
            <a:r>
              <a:rPr lang="en-US" dirty="0"/>
              <a:t>HR DIVIDER SUB HEADING | UPPERCASE ONLY | 18PT</a:t>
            </a:r>
          </a:p>
        </p:txBody>
      </p:sp>
      <p:pic>
        <p:nvPicPr>
          <p:cNvPr id="76" name="Picture 75"/>
          <p:cNvPicPr>
            <a:picLocks noChangeAspect="1"/>
          </p:cNvPicPr>
          <p:nvPr userDrawn="1"/>
        </p:nvPicPr>
        <p:blipFill rotWithShape="1">
          <a:blip r:embed="rId2">
            <a:alphaModFix amt="3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35" r="55556"/>
          <a:stretch/>
        </p:blipFill>
        <p:spPr>
          <a:xfrm>
            <a:off x="9819861" y="0"/>
            <a:ext cx="2372139" cy="4802775"/>
          </a:xfrm>
          <a:prstGeom prst="rect">
            <a:avLst/>
          </a:prstGeom>
          <a:effectLst/>
        </p:spPr>
      </p:pic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E9CDC156-4F97-C54B-AFE5-83D7FF28D679}"/>
              </a:ext>
            </a:extLst>
          </p:cNvPr>
          <p:cNvCxnSpPr/>
          <p:nvPr userDrawn="1"/>
        </p:nvCxnSpPr>
        <p:spPr>
          <a:xfrm>
            <a:off x="0" y="4722327"/>
            <a:ext cx="12192000" cy="0"/>
          </a:xfrm>
          <a:prstGeom prst="line">
            <a:avLst/>
          </a:prstGeom>
          <a:ln w="38100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tangle 93"/>
          <p:cNvSpPr/>
          <p:nvPr userDrawn="1"/>
        </p:nvSpPr>
        <p:spPr>
          <a:xfrm>
            <a:off x="0" y="4730154"/>
            <a:ext cx="12191999" cy="2826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7812407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ED00FD-7DE9-0FC9-54D5-8FA0307339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F696DE-550E-2A82-D423-413A5F249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F133E8-3382-3528-2963-4E52D836D9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B24E78-D5C6-47B8-BE8F-F9E97752F959}" type="datetimeFigureOut">
              <a:rPr lang="en-US" smtClean="0"/>
              <a:t>10/1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BB90E9-D36C-F955-46A6-32218CDF76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73B934-60B1-3810-DE3E-04736E5B0B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655CBF-E401-402C-9C20-6BB638019E8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7818327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771E8B-6CA5-40B2-8038-0E112F3DAC1C}" type="datetimeFigureOut">
              <a:rPr lang="es-ES" smtClean="0"/>
              <a:t>19/10/2025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1556C4-DFC3-4611-A7CC-780699185E26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342548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. Strategy Slide - 1 Tab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EC870B3-50A2-46BE-AA7B-4A936D9F10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41496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EC870B3-50A2-46BE-AA7B-4A936D9F10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20DBCFD6-6AB0-446C-ABE3-7A9D917775F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4" hasCustomPrompt="1"/>
          </p:nvPr>
        </p:nvSpPr>
        <p:spPr>
          <a:xfrm>
            <a:off x="7547605" y="1568107"/>
            <a:ext cx="4325307" cy="441166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2033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ONE TABLE AND TEXT</a:t>
            </a:r>
          </a:p>
        </p:txBody>
      </p:sp>
      <p:sp>
        <p:nvSpPr>
          <p:cNvPr id="4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46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64692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7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953F9B7A-BF56-489E-82C1-58AE830A8B0E}" type="datetime2">
              <a:rPr lang="en-US" smtClean="0"/>
              <a:t>Sunday, October 19, 2025</a:t>
            </a:fld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96529593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. Strategy Slide - 2 Tabl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38326FD8-10A6-48A9-BAFF-C691458C18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69710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38326FD8-10A6-48A9-BAFF-C691458C18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10934FCA-74B9-4B28-ACD0-8909FD502F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WO TABLES AND TEXT</a:t>
            </a:r>
          </a:p>
        </p:txBody>
      </p:sp>
      <p:sp>
        <p:nvSpPr>
          <p:cNvPr id="3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3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6DB5ECCD-BB21-4DEF-8FA9-1EDB0D32C5D5}" type="datetime2">
              <a:rPr lang="en-US" smtClean="0"/>
              <a:t>Sunday, October 19, 2025</a:t>
            </a:fld>
            <a:endParaRPr lang="en-US"/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4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198549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198550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15" name="Table Placeholder 5"/>
          <p:cNvSpPr>
            <a:spLocks noGrp="1"/>
          </p:cNvSpPr>
          <p:nvPr>
            <p:ph type="tbl" sz="quarter" idx="21" hasCustomPrompt="1"/>
          </p:nvPr>
        </p:nvSpPr>
        <p:spPr>
          <a:xfrm>
            <a:off x="725213" y="1876657"/>
            <a:ext cx="511678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6" name="Table Placeholder 5"/>
          <p:cNvSpPr>
            <a:spLocks noGrp="1"/>
          </p:cNvSpPr>
          <p:nvPr>
            <p:ph type="tbl" sz="quarter" idx="22" hasCustomPrompt="1"/>
          </p:nvPr>
        </p:nvSpPr>
        <p:spPr>
          <a:xfrm>
            <a:off x="6198548" y="1876657"/>
            <a:ext cx="511678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29762055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. Strategy Slide - 3 Tabl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0F003DE-FE9D-4ABD-A7B3-2652A1F34C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05077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40F003DE-FE9D-4ABD-A7B3-2652A1F34C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118D3152-AE5F-4DB1-B0FA-38D86D0CF73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TABLE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9CC73CD1-7D68-4F7C-A569-80378087C3A1}" type="datetime2">
              <a:rPr lang="en-US" smtClean="0"/>
              <a:t>Sunday, October 19, 2025</a:t>
            </a:fld>
            <a:endParaRPr lang="en-US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37923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8046319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8" name="Table Placeholder 5"/>
          <p:cNvSpPr>
            <a:spLocks noGrp="1"/>
          </p:cNvSpPr>
          <p:nvPr>
            <p:ph type="tbl" sz="quarter" idx="21" hasCustomPrompt="1"/>
          </p:nvPr>
        </p:nvSpPr>
        <p:spPr>
          <a:xfrm>
            <a:off x="725213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9" name="Table Placeholder 5"/>
          <p:cNvSpPr>
            <a:spLocks noGrp="1"/>
          </p:cNvSpPr>
          <p:nvPr>
            <p:ph type="tbl" sz="quarter" idx="22" hasCustomPrompt="1"/>
          </p:nvPr>
        </p:nvSpPr>
        <p:spPr>
          <a:xfrm>
            <a:off x="4379232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0" name="Table Placeholder 5"/>
          <p:cNvSpPr>
            <a:spLocks noGrp="1"/>
          </p:cNvSpPr>
          <p:nvPr>
            <p:ph type="tbl" sz="quarter" idx="23" hasCustomPrompt="1"/>
          </p:nvPr>
        </p:nvSpPr>
        <p:spPr>
          <a:xfrm>
            <a:off x="8033882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8244763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Strategy Slide - Intro Para,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65552740-4228-4285-887F-AB772DF6F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6348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65552740-4228-4285-887F-AB772DF6F5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5F91E1F3-2BEF-4354-937C-2864A86615A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NTRO PARAGRAPH WITH BULLET POINTS AND PICTURE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26231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69A93812-1C99-4DA3-9F04-4BE0DDBB6E67}" type="datetime2">
              <a:rPr lang="en-US" smtClean="0"/>
              <a:t>Sunday, October 19, 2025</a:t>
            </a:fld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8529363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. Strategy Slide - 6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C665559F-26E3-4E68-91A4-C0766AD4AC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3263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C665559F-26E3-4E68-91A4-C0766AD4AC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BF262311-8DB3-40D8-A862-1E2F520E5D4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67971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TABLES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60A9AF74-464C-4061-A12E-620A6602F3E4}" type="datetime2">
              <a:rPr lang="en-US" smtClean="0"/>
              <a:t>Sunday, October 19, 2025</a:t>
            </a:fld>
            <a:endParaRPr lang="en-US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72521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7923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8046320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725214" y="3735977"/>
            <a:ext cx="10488623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able Placeholder 5"/>
          <p:cNvSpPr>
            <a:spLocks noGrp="1"/>
          </p:cNvSpPr>
          <p:nvPr>
            <p:ph type="tbl" sz="quarter" idx="27" hasCustomPrompt="1"/>
          </p:nvPr>
        </p:nvSpPr>
        <p:spPr>
          <a:xfrm>
            <a:off x="725213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5" name="Table Placeholder 5"/>
          <p:cNvSpPr>
            <a:spLocks noGrp="1"/>
          </p:cNvSpPr>
          <p:nvPr>
            <p:ph type="tbl" sz="quarter" idx="28" hasCustomPrompt="1"/>
          </p:nvPr>
        </p:nvSpPr>
        <p:spPr>
          <a:xfrm>
            <a:off x="4379233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6" name="Table Placeholder 5"/>
          <p:cNvSpPr>
            <a:spLocks noGrp="1"/>
          </p:cNvSpPr>
          <p:nvPr>
            <p:ph type="tbl" sz="quarter" idx="29" hasCustomPrompt="1"/>
          </p:nvPr>
        </p:nvSpPr>
        <p:spPr>
          <a:xfrm>
            <a:off x="8046320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7" name="Table Placeholder 5"/>
          <p:cNvSpPr>
            <a:spLocks noGrp="1"/>
          </p:cNvSpPr>
          <p:nvPr>
            <p:ph type="tbl" sz="quarter" idx="30" hasCustomPrompt="1"/>
          </p:nvPr>
        </p:nvSpPr>
        <p:spPr>
          <a:xfrm>
            <a:off x="725213" y="430180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8" name="Table Placeholder 5"/>
          <p:cNvSpPr>
            <a:spLocks noGrp="1"/>
          </p:cNvSpPr>
          <p:nvPr>
            <p:ph type="tbl" sz="quarter" idx="31" hasCustomPrompt="1"/>
          </p:nvPr>
        </p:nvSpPr>
        <p:spPr>
          <a:xfrm>
            <a:off x="4379233" y="430180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9" name="Table Placeholder 5"/>
          <p:cNvSpPr>
            <a:spLocks noGrp="1"/>
          </p:cNvSpPr>
          <p:nvPr>
            <p:ph type="tbl" sz="quarter" idx="32" hasCustomPrompt="1"/>
          </p:nvPr>
        </p:nvSpPr>
        <p:spPr>
          <a:xfrm>
            <a:off x="8046320" y="430180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02754904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. Strategy Slide - Process Closed Lo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AC899918-A378-45FD-8700-4E2340C899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88961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AC899918-A378-45FD-8700-4E2340C899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9A197265-B4C3-4B35-9F5E-E038ABA274E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472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PROCESS CLOSED LOOP WITH INTRO TEXT AND BULLETS</a:t>
            </a:r>
          </a:p>
        </p:txBody>
      </p:sp>
      <p:grpSp>
        <p:nvGrpSpPr>
          <p:cNvPr id="33" name="Group 32"/>
          <p:cNvGrpSpPr/>
          <p:nvPr userDrawn="1"/>
        </p:nvGrpSpPr>
        <p:grpSpPr>
          <a:xfrm>
            <a:off x="6152742" y="1530826"/>
            <a:ext cx="5205413" cy="4535487"/>
            <a:chOff x="1905000" y="1773238"/>
            <a:chExt cx="5205413" cy="4535487"/>
          </a:xfrm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34" name="Freeform 33"/>
            <p:cNvSpPr>
              <a:spLocks/>
            </p:cNvSpPr>
            <p:nvPr/>
          </p:nvSpPr>
          <p:spPr bwMode="blackWhite">
            <a:xfrm>
              <a:off x="5729288" y="3216275"/>
              <a:ext cx="1381125" cy="1874838"/>
            </a:xfrm>
            <a:custGeom>
              <a:avLst/>
              <a:gdLst>
                <a:gd name="T0" fmla="*/ 461616 w 852"/>
                <a:gd name="T1" fmla="*/ 1873218 h 1157"/>
                <a:gd name="T2" fmla="*/ 1493670 w 852"/>
                <a:gd name="T3" fmla="*/ 1852152 h 1157"/>
                <a:gd name="T4" fmla="*/ 1172469 w 852"/>
                <a:gd name="T5" fmla="*/ 1672284 h 1157"/>
                <a:gd name="T6" fmla="*/ 1233901 w 852"/>
                <a:gd name="T7" fmla="*/ 1552372 h 1157"/>
                <a:gd name="T8" fmla="*/ 1286557 w 852"/>
                <a:gd name="T9" fmla="*/ 1429219 h 1157"/>
                <a:gd name="T10" fmla="*/ 1330437 w 852"/>
                <a:gd name="T11" fmla="*/ 1302826 h 1157"/>
                <a:gd name="T12" fmla="*/ 1360275 w 852"/>
                <a:gd name="T13" fmla="*/ 1171571 h 1157"/>
                <a:gd name="T14" fmla="*/ 1386603 w 852"/>
                <a:gd name="T15" fmla="*/ 1040316 h 1157"/>
                <a:gd name="T16" fmla="*/ 1400645 w 852"/>
                <a:gd name="T17" fmla="*/ 909061 h 1157"/>
                <a:gd name="T18" fmla="*/ 1405910 w 852"/>
                <a:gd name="T19" fmla="*/ 774566 h 1157"/>
                <a:gd name="T20" fmla="*/ 1400645 w 852"/>
                <a:gd name="T21" fmla="*/ 640070 h 1157"/>
                <a:gd name="T22" fmla="*/ 1384848 w 852"/>
                <a:gd name="T23" fmla="*/ 508815 h 1157"/>
                <a:gd name="T24" fmla="*/ 1360275 w 852"/>
                <a:gd name="T25" fmla="*/ 377560 h 1157"/>
                <a:gd name="T26" fmla="*/ 1326926 w 852"/>
                <a:gd name="T27" fmla="*/ 247926 h 1157"/>
                <a:gd name="T28" fmla="*/ 1281291 w 852"/>
                <a:gd name="T29" fmla="*/ 121532 h 1157"/>
                <a:gd name="T30" fmla="*/ 1230391 w 852"/>
                <a:gd name="T31" fmla="*/ 0 h 1157"/>
                <a:gd name="T32" fmla="*/ 956581 w 852"/>
                <a:gd name="T33" fmla="*/ 479647 h 1157"/>
                <a:gd name="T34" fmla="*/ 365080 w 852"/>
                <a:gd name="T35" fmla="*/ 471545 h 1157"/>
                <a:gd name="T36" fmla="*/ 389653 w 852"/>
                <a:gd name="T37" fmla="*/ 559048 h 1157"/>
                <a:gd name="T38" fmla="*/ 405450 w 852"/>
                <a:gd name="T39" fmla="*/ 651413 h 1157"/>
                <a:gd name="T40" fmla="*/ 412470 w 852"/>
                <a:gd name="T41" fmla="*/ 743777 h 1157"/>
                <a:gd name="T42" fmla="*/ 410715 w 852"/>
                <a:gd name="T43" fmla="*/ 832901 h 1157"/>
                <a:gd name="T44" fmla="*/ 401939 w 852"/>
                <a:gd name="T45" fmla="*/ 925266 h 1157"/>
                <a:gd name="T46" fmla="*/ 380877 w 852"/>
                <a:gd name="T47" fmla="*/ 1016010 h 1157"/>
                <a:gd name="T48" fmla="*/ 356304 w 852"/>
                <a:gd name="T49" fmla="*/ 1106754 h 1157"/>
                <a:gd name="T50" fmla="*/ 317690 w 852"/>
                <a:gd name="T51" fmla="*/ 1189396 h 1157"/>
                <a:gd name="T52" fmla="*/ 0 w 852"/>
                <a:gd name="T53" fmla="*/ 1017630 h 1157"/>
                <a:gd name="T54" fmla="*/ 461616 w 852"/>
                <a:gd name="T55" fmla="*/ 1873218 h 115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852"/>
                <a:gd name="T85" fmla="*/ 0 h 1157"/>
                <a:gd name="T86" fmla="*/ 852 w 852"/>
                <a:gd name="T87" fmla="*/ 1157 h 1157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852" h="1157">
                  <a:moveTo>
                    <a:pt x="263" y="1156"/>
                  </a:moveTo>
                  <a:lnTo>
                    <a:pt x="851" y="1143"/>
                  </a:lnTo>
                  <a:lnTo>
                    <a:pt x="668" y="1032"/>
                  </a:lnTo>
                  <a:lnTo>
                    <a:pt x="703" y="958"/>
                  </a:lnTo>
                  <a:lnTo>
                    <a:pt x="733" y="882"/>
                  </a:lnTo>
                  <a:lnTo>
                    <a:pt x="758" y="804"/>
                  </a:lnTo>
                  <a:lnTo>
                    <a:pt x="775" y="723"/>
                  </a:lnTo>
                  <a:lnTo>
                    <a:pt x="790" y="642"/>
                  </a:lnTo>
                  <a:lnTo>
                    <a:pt x="798" y="561"/>
                  </a:lnTo>
                  <a:lnTo>
                    <a:pt x="801" y="478"/>
                  </a:lnTo>
                  <a:lnTo>
                    <a:pt x="798" y="395"/>
                  </a:lnTo>
                  <a:lnTo>
                    <a:pt x="789" y="314"/>
                  </a:lnTo>
                  <a:lnTo>
                    <a:pt x="775" y="233"/>
                  </a:lnTo>
                  <a:lnTo>
                    <a:pt x="756" y="153"/>
                  </a:lnTo>
                  <a:lnTo>
                    <a:pt x="730" y="75"/>
                  </a:lnTo>
                  <a:lnTo>
                    <a:pt x="701" y="0"/>
                  </a:lnTo>
                  <a:lnTo>
                    <a:pt x="545" y="296"/>
                  </a:lnTo>
                  <a:lnTo>
                    <a:pt x="208" y="291"/>
                  </a:lnTo>
                  <a:lnTo>
                    <a:pt x="222" y="345"/>
                  </a:lnTo>
                  <a:lnTo>
                    <a:pt x="231" y="402"/>
                  </a:lnTo>
                  <a:lnTo>
                    <a:pt x="235" y="459"/>
                  </a:lnTo>
                  <a:lnTo>
                    <a:pt x="234" y="514"/>
                  </a:lnTo>
                  <a:lnTo>
                    <a:pt x="229" y="571"/>
                  </a:lnTo>
                  <a:lnTo>
                    <a:pt x="217" y="627"/>
                  </a:lnTo>
                  <a:lnTo>
                    <a:pt x="203" y="683"/>
                  </a:lnTo>
                  <a:lnTo>
                    <a:pt x="181" y="734"/>
                  </a:lnTo>
                  <a:lnTo>
                    <a:pt x="0" y="628"/>
                  </a:lnTo>
                  <a:lnTo>
                    <a:pt x="263" y="1156"/>
                  </a:lnTo>
                </a:path>
              </a:pathLst>
            </a:custGeom>
            <a:solidFill>
              <a:schemeClr val="accent3"/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blackWhite">
            <a:xfrm>
              <a:off x="5221288" y="2070100"/>
              <a:ext cx="1797050" cy="1557338"/>
            </a:xfrm>
            <a:custGeom>
              <a:avLst/>
              <a:gdLst>
                <a:gd name="T0" fmla="*/ 2147483647 w 1109"/>
                <a:gd name="T1" fmla="*/ 2147483647 h 962"/>
                <a:gd name="T2" fmla="*/ 2147483647 w 1109"/>
                <a:gd name="T3" fmla="*/ 2147483647 h 962"/>
                <a:gd name="T4" fmla="*/ 2147483647 w 1109"/>
                <a:gd name="T5" fmla="*/ 2147483647 h 962"/>
                <a:gd name="T6" fmla="*/ 2147483647 w 1109"/>
                <a:gd name="T7" fmla="*/ 2147483647 h 962"/>
                <a:gd name="T8" fmla="*/ 2147483647 w 1109"/>
                <a:gd name="T9" fmla="*/ 2147483647 h 962"/>
                <a:gd name="T10" fmla="*/ 2147483647 w 1109"/>
                <a:gd name="T11" fmla="*/ 2147483647 h 962"/>
                <a:gd name="T12" fmla="*/ 2147483647 w 1109"/>
                <a:gd name="T13" fmla="*/ 2147483647 h 962"/>
                <a:gd name="T14" fmla="*/ 2147483647 w 1109"/>
                <a:gd name="T15" fmla="*/ 2147483647 h 962"/>
                <a:gd name="T16" fmla="*/ 2147483647 w 1109"/>
                <a:gd name="T17" fmla="*/ 2147483647 h 962"/>
                <a:gd name="T18" fmla="*/ 2147483647 w 1109"/>
                <a:gd name="T19" fmla="*/ 2147483647 h 962"/>
                <a:gd name="T20" fmla="*/ 2147483647 w 1109"/>
                <a:gd name="T21" fmla="*/ 2147483647 h 962"/>
                <a:gd name="T22" fmla="*/ 2147483647 w 1109"/>
                <a:gd name="T23" fmla="*/ 2147483647 h 962"/>
                <a:gd name="T24" fmla="*/ 2147483647 w 1109"/>
                <a:gd name="T25" fmla="*/ 2147483647 h 962"/>
                <a:gd name="T26" fmla="*/ 2147483647 w 1109"/>
                <a:gd name="T27" fmla="*/ 2147483647 h 962"/>
                <a:gd name="T28" fmla="*/ 2147483647 w 1109"/>
                <a:gd name="T29" fmla="*/ 2147483647 h 962"/>
                <a:gd name="T30" fmla="*/ 2147483647 w 1109"/>
                <a:gd name="T31" fmla="*/ 2147483647 h 962"/>
                <a:gd name="T32" fmla="*/ 2147483647 w 1109"/>
                <a:gd name="T33" fmla="*/ 2147483647 h 962"/>
                <a:gd name="T34" fmla="*/ 2147483647 w 1109"/>
                <a:gd name="T35" fmla="*/ 2147483647 h 962"/>
                <a:gd name="T36" fmla="*/ 2147483647 w 1109"/>
                <a:gd name="T37" fmla="*/ 2147483647 h 962"/>
                <a:gd name="T38" fmla="*/ 0 w 1109"/>
                <a:gd name="T39" fmla="*/ 0 h 962"/>
                <a:gd name="T40" fmla="*/ 2147483647 w 1109"/>
                <a:gd name="T41" fmla="*/ 2147483647 h 962"/>
                <a:gd name="T42" fmla="*/ 2147483647 w 1109"/>
                <a:gd name="T43" fmla="*/ 2147483647 h 962"/>
                <a:gd name="T44" fmla="*/ 2147483647 w 1109"/>
                <a:gd name="T45" fmla="*/ 2147483647 h 962"/>
                <a:gd name="T46" fmla="*/ 2147483647 w 1109"/>
                <a:gd name="T47" fmla="*/ 2147483647 h 962"/>
                <a:gd name="T48" fmla="*/ 2147483647 w 1109"/>
                <a:gd name="T49" fmla="*/ 2147483647 h 962"/>
                <a:gd name="T50" fmla="*/ 2147483647 w 1109"/>
                <a:gd name="T51" fmla="*/ 2147483647 h 962"/>
                <a:gd name="T52" fmla="*/ 2147483647 w 1109"/>
                <a:gd name="T53" fmla="*/ 2147483647 h 962"/>
                <a:gd name="T54" fmla="*/ 2147483647 w 1109"/>
                <a:gd name="T55" fmla="*/ 2147483647 h 962"/>
                <a:gd name="T56" fmla="*/ 2147483647 w 1109"/>
                <a:gd name="T57" fmla="*/ 2147483647 h 962"/>
                <a:gd name="T58" fmla="*/ 2147483647 w 1109"/>
                <a:gd name="T59" fmla="*/ 2147483647 h 962"/>
                <a:gd name="T60" fmla="*/ 2147483647 w 1109"/>
                <a:gd name="T61" fmla="*/ 2147483647 h 9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109"/>
                <a:gd name="T94" fmla="*/ 0 h 962"/>
                <a:gd name="T95" fmla="*/ 1109 w 1109"/>
                <a:gd name="T96" fmla="*/ 962 h 9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109" h="962">
                  <a:moveTo>
                    <a:pt x="246" y="959"/>
                  </a:moveTo>
                  <a:lnTo>
                    <a:pt x="839" y="961"/>
                  </a:lnTo>
                  <a:lnTo>
                    <a:pt x="934" y="786"/>
                  </a:lnTo>
                  <a:lnTo>
                    <a:pt x="1023" y="611"/>
                  </a:lnTo>
                  <a:lnTo>
                    <a:pt x="1108" y="429"/>
                  </a:lnTo>
                  <a:lnTo>
                    <a:pt x="930" y="539"/>
                  </a:lnTo>
                  <a:lnTo>
                    <a:pt x="885" y="471"/>
                  </a:lnTo>
                  <a:lnTo>
                    <a:pt x="837" y="406"/>
                  </a:lnTo>
                  <a:lnTo>
                    <a:pt x="783" y="344"/>
                  </a:lnTo>
                  <a:lnTo>
                    <a:pt x="724" y="287"/>
                  </a:lnTo>
                  <a:lnTo>
                    <a:pt x="663" y="235"/>
                  </a:lnTo>
                  <a:lnTo>
                    <a:pt x="598" y="188"/>
                  </a:lnTo>
                  <a:lnTo>
                    <a:pt x="530" y="145"/>
                  </a:lnTo>
                  <a:lnTo>
                    <a:pt x="460" y="107"/>
                  </a:lnTo>
                  <a:lnTo>
                    <a:pt x="387" y="75"/>
                  </a:lnTo>
                  <a:lnTo>
                    <a:pt x="311" y="48"/>
                  </a:lnTo>
                  <a:lnTo>
                    <a:pt x="236" y="27"/>
                  </a:lnTo>
                  <a:lnTo>
                    <a:pt x="158" y="12"/>
                  </a:lnTo>
                  <a:lnTo>
                    <a:pt x="79" y="2"/>
                  </a:lnTo>
                  <a:lnTo>
                    <a:pt x="0" y="0"/>
                  </a:lnTo>
                  <a:lnTo>
                    <a:pt x="210" y="277"/>
                  </a:lnTo>
                  <a:lnTo>
                    <a:pt x="80" y="601"/>
                  </a:lnTo>
                  <a:lnTo>
                    <a:pt x="134" y="614"/>
                  </a:lnTo>
                  <a:lnTo>
                    <a:pt x="186" y="631"/>
                  </a:lnTo>
                  <a:lnTo>
                    <a:pt x="236" y="654"/>
                  </a:lnTo>
                  <a:lnTo>
                    <a:pt x="283" y="681"/>
                  </a:lnTo>
                  <a:lnTo>
                    <a:pt x="328" y="715"/>
                  </a:lnTo>
                  <a:lnTo>
                    <a:pt x="370" y="752"/>
                  </a:lnTo>
                  <a:lnTo>
                    <a:pt x="408" y="792"/>
                  </a:lnTo>
                  <a:lnTo>
                    <a:pt x="446" y="837"/>
                  </a:lnTo>
                  <a:lnTo>
                    <a:pt x="246" y="959"/>
                  </a:lnTo>
                </a:path>
              </a:pathLst>
            </a:custGeom>
            <a:solidFill>
              <a:schemeClr val="accent3">
                <a:lumMod val="75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/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blackWhite">
            <a:xfrm>
              <a:off x="1905000" y="1773238"/>
              <a:ext cx="3573463" cy="1779587"/>
            </a:xfrm>
            <a:custGeom>
              <a:avLst/>
              <a:gdLst>
                <a:gd name="T0" fmla="*/ 0 w 2206"/>
                <a:gd name="T1" fmla="*/ 2147483647 h 1099"/>
                <a:gd name="T2" fmla="*/ 2147483647 w 2206"/>
                <a:gd name="T3" fmla="*/ 2147483647 h 1099"/>
                <a:gd name="T4" fmla="*/ 2147483647 w 2206"/>
                <a:gd name="T5" fmla="*/ 2147483647 h 1099"/>
                <a:gd name="T6" fmla="*/ 2147483647 w 2206"/>
                <a:gd name="T7" fmla="*/ 2147483647 h 1099"/>
                <a:gd name="T8" fmla="*/ 2147483647 w 2206"/>
                <a:gd name="T9" fmla="*/ 2147483647 h 1099"/>
                <a:gd name="T10" fmla="*/ 2147483647 w 2206"/>
                <a:gd name="T11" fmla="*/ 2147483647 h 1099"/>
                <a:gd name="T12" fmla="*/ 2147483647 w 2206"/>
                <a:gd name="T13" fmla="*/ 2147483647 h 1099"/>
                <a:gd name="T14" fmla="*/ 2147483647 w 2206"/>
                <a:gd name="T15" fmla="*/ 2147483647 h 1099"/>
                <a:gd name="T16" fmla="*/ 2147483647 w 2206"/>
                <a:gd name="T17" fmla="*/ 2147483647 h 1099"/>
                <a:gd name="T18" fmla="*/ 2147483647 w 2206"/>
                <a:gd name="T19" fmla="*/ 2147483647 h 1099"/>
                <a:gd name="T20" fmla="*/ 2147483647 w 2206"/>
                <a:gd name="T21" fmla="*/ 2147483647 h 1099"/>
                <a:gd name="T22" fmla="*/ 2147483647 w 2206"/>
                <a:gd name="T23" fmla="*/ 2147483647 h 1099"/>
                <a:gd name="T24" fmla="*/ 2147483647 w 2206"/>
                <a:gd name="T25" fmla="*/ 2147483647 h 1099"/>
                <a:gd name="T26" fmla="*/ 2147483647 w 2206"/>
                <a:gd name="T27" fmla="*/ 2147483647 h 1099"/>
                <a:gd name="T28" fmla="*/ 2147483647 w 2206"/>
                <a:gd name="T29" fmla="*/ 0 h 1099"/>
                <a:gd name="T30" fmla="*/ 2147483647 w 2206"/>
                <a:gd name="T31" fmla="*/ 2147483647 h 1099"/>
                <a:gd name="T32" fmla="*/ 0 w 2206"/>
                <a:gd name="T33" fmla="*/ 2147483647 h 1099"/>
                <a:gd name="T34" fmla="*/ 0 w 2206"/>
                <a:gd name="T35" fmla="*/ 2147483647 h 109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206"/>
                <a:gd name="T55" fmla="*/ 0 h 1099"/>
                <a:gd name="T56" fmla="*/ 2206 w 2206"/>
                <a:gd name="T57" fmla="*/ 1099 h 109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206" h="1099">
                  <a:moveTo>
                    <a:pt x="0" y="864"/>
                  </a:moveTo>
                  <a:lnTo>
                    <a:pt x="1339" y="864"/>
                  </a:lnTo>
                  <a:lnTo>
                    <a:pt x="1552" y="1098"/>
                  </a:lnTo>
                  <a:lnTo>
                    <a:pt x="1587" y="1045"/>
                  </a:lnTo>
                  <a:lnTo>
                    <a:pt x="1625" y="996"/>
                  </a:lnTo>
                  <a:lnTo>
                    <a:pt x="1666" y="948"/>
                  </a:lnTo>
                  <a:lnTo>
                    <a:pt x="1711" y="906"/>
                  </a:lnTo>
                  <a:lnTo>
                    <a:pt x="1754" y="872"/>
                  </a:lnTo>
                  <a:lnTo>
                    <a:pt x="1800" y="845"/>
                  </a:lnTo>
                  <a:lnTo>
                    <a:pt x="1850" y="822"/>
                  </a:lnTo>
                  <a:lnTo>
                    <a:pt x="1900" y="803"/>
                  </a:lnTo>
                  <a:lnTo>
                    <a:pt x="1953" y="790"/>
                  </a:lnTo>
                  <a:lnTo>
                    <a:pt x="1983" y="1013"/>
                  </a:lnTo>
                  <a:lnTo>
                    <a:pt x="2205" y="471"/>
                  </a:lnTo>
                  <a:lnTo>
                    <a:pt x="1872" y="0"/>
                  </a:lnTo>
                  <a:lnTo>
                    <a:pt x="1873" y="196"/>
                  </a:lnTo>
                  <a:lnTo>
                    <a:pt x="0" y="196"/>
                  </a:lnTo>
                  <a:lnTo>
                    <a:pt x="0" y="864"/>
                  </a:lnTo>
                </a:path>
              </a:pathLst>
            </a:custGeom>
            <a:solidFill>
              <a:schemeClr val="accent3">
                <a:lumMod val="5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/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blackWhite">
            <a:xfrm>
              <a:off x="4867275" y="4592638"/>
              <a:ext cx="1806575" cy="1716087"/>
            </a:xfrm>
            <a:custGeom>
              <a:avLst/>
              <a:gdLst>
                <a:gd name="T0" fmla="*/ 0 w 1115"/>
                <a:gd name="T1" fmla="*/ 857233 h 1059"/>
                <a:gd name="T2" fmla="*/ 489786 w 1115"/>
                <a:gd name="T3" fmla="*/ 1714467 h 1059"/>
                <a:gd name="T4" fmla="*/ 489786 w 1115"/>
                <a:gd name="T5" fmla="*/ 1320690 h 1059"/>
                <a:gd name="T6" fmla="*/ 619693 w 1115"/>
                <a:gd name="T7" fmla="*/ 1309347 h 1059"/>
                <a:gd name="T8" fmla="*/ 753111 w 1115"/>
                <a:gd name="T9" fmla="*/ 1288280 h 1059"/>
                <a:gd name="T10" fmla="*/ 881263 w 1115"/>
                <a:gd name="T11" fmla="*/ 1259112 h 1059"/>
                <a:gd name="T12" fmla="*/ 1005904 w 1115"/>
                <a:gd name="T13" fmla="*/ 1221841 h 1059"/>
                <a:gd name="T14" fmla="*/ 1128789 w 1115"/>
                <a:gd name="T15" fmla="*/ 1176467 h 1059"/>
                <a:gd name="T16" fmla="*/ 1249919 w 1115"/>
                <a:gd name="T17" fmla="*/ 1122992 h 1059"/>
                <a:gd name="T18" fmla="*/ 1365782 w 1115"/>
                <a:gd name="T19" fmla="*/ 1061413 h 1059"/>
                <a:gd name="T20" fmla="*/ 1479890 w 1115"/>
                <a:gd name="T21" fmla="*/ 993353 h 1059"/>
                <a:gd name="T22" fmla="*/ 1581709 w 1115"/>
                <a:gd name="T23" fmla="*/ 913950 h 1059"/>
                <a:gd name="T24" fmla="*/ 1687039 w 1115"/>
                <a:gd name="T25" fmla="*/ 831306 h 1059"/>
                <a:gd name="T26" fmla="*/ 1781836 w 1115"/>
                <a:gd name="T27" fmla="*/ 738938 h 1059"/>
                <a:gd name="T28" fmla="*/ 1874878 w 1115"/>
                <a:gd name="T29" fmla="*/ 640089 h 1059"/>
                <a:gd name="T30" fmla="*/ 1955631 w 1115"/>
                <a:gd name="T31" fmla="*/ 539619 h 1059"/>
                <a:gd name="T32" fmla="*/ 1362271 w 1115"/>
                <a:gd name="T33" fmla="*/ 570408 h 1059"/>
                <a:gd name="T34" fmla="*/ 1093679 w 1115"/>
                <a:gd name="T35" fmla="*/ 58337 h 1059"/>
                <a:gd name="T36" fmla="*/ 1037503 w 1115"/>
                <a:gd name="T37" fmla="*/ 111813 h 1059"/>
                <a:gd name="T38" fmla="*/ 977816 w 1115"/>
                <a:gd name="T39" fmla="*/ 158807 h 1059"/>
                <a:gd name="T40" fmla="*/ 905840 w 1115"/>
                <a:gd name="T41" fmla="*/ 207421 h 1059"/>
                <a:gd name="T42" fmla="*/ 828598 w 1115"/>
                <a:gd name="T43" fmla="*/ 254415 h 1059"/>
                <a:gd name="T44" fmla="*/ 746089 w 1115"/>
                <a:gd name="T45" fmla="*/ 288445 h 1059"/>
                <a:gd name="T46" fmla="*/ 665336 w 1115"/>
                <a:gd name="T47" fmla="*/ 319234 h 1059"/>
                <a:gd name="T48" fmla="*/ 579316 w 1115"/>
                <a:gd name="T49" fmla="*/ 341921 h 1059"/>
                <a:gd name="T50" fmla="*/ 489786 w 1115"/>
                <a:gd name="T51" fmla="*/ 356505 h 1059"/>
                <a:gd name="T52" fmla="*/ 489786 w 1115"/>
                <a:gd name="T53" fmla="*/ 0 h 1059"/>
                <a:gd name="T54" fmla="*/ 0 w 1115"/>
                <a:gd name="T55" fmla="*/ 857233 h 1059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115"/>
                <a:gd name="T85" fmla="*/ 0 h 1059"/>
                <a:gd name="T86" fmla="*/ 1115 w 1115"/>
                <a:gd name="T87" fmla="*/ 1059 h 1059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115" h="1059">
                  <a:moveTo>
                    <a:pt x="0" y="529"/>
                  </a:moveTo>
                  <a:lnTo>
                    <a:pt x="279" y="1058"/>
                  </a:lnTo>
                  <a:lnTo>
                    <a:pt x="279" y="815"/>
                  </a:lnTo>
                  <a:lnTo>
                    <a:pt x="353" y="808"/>
                  </a:lnTo>
                  <a:lnTo>
                    <a:pt x="429" y="795"/>
                  </a:lnTo>
                  <a:lnTo>
                    <a:pt x="502" y="777"/>
                  </a:lnTo>
                  <a:lnTo>
                    <a:pt x="573" y="754"/>
                  </a:lnTo>
                  <a:lnTo>
                    <a:pt x="643" y="726"/>
                  </a:lnTo>
                  <a:lnTo>
                    <a:pt x="712" y="693"/>
                  </a:lnTo>
                  <a:lnTo>
                    <a:pt x="778" y="655"/>
                  </a:lnTo>
                  <a:lnTo>
                    <a:pt x="843" y="613"/>
                  </a:lnTo>
                  <a:lnTo>
                    <a:pt x="901" y="564"/>
                  </a:lnTo>
                  <a:lnTo>
                    <a:pt x="961" y="513"/>
                  </a:lnTo>
                  <a:lnTo>
                    <a:pt x="1015" y="456"/>
                  </a:lnTo>
                  <a:lnTo>
                    <a:pt x="1068" y="395"/>
                  </a:lnTo>
                  <a:lnTo>
                    <a:pt x="1114" y="333"/>
                  </a:lnTo>
                  <a:lnTo>
                    <a:pt x="776" y="352"/>
                  </a:lnTo>
                  <a:lnTo>
                    <a:pt x="623" y="36"/>
                  </a:lnTo>
                  <a:lnTo>
                    <a:pt x="591" y="69"/>
                  </a:lnTo>
                  <a:lnTo>
                    <a:pt x="557" y="98"/>
                  </a:lnTo>
                  <a:lnTo>
                    <a:pt x="516" y="128"/>
                  </a:lnTo>
                  <a:lnTo>
                    <a:pt x="472" y="157"/>
                  </a:lnTo>
                  <a:lnTo>
                    <a:pt x="425" y="178"/>
                  </a:lnTo>
                  <a:lnTo>
                    <a:pt x="379" y="197"/>
                  </a:lnTo>
                  <a:lnTo>
                    <a:pt x="330" y="211"/>
                  </a:lnTo>
                  <a:lnTo>
                    <a:pt x="279" y="220"/>
                  </a:lnTo>
                  <a:lnTo>
                    <a:pt x="279" y="0"/>
                  </a:lnTo>
                  <a:lnTo>
                    <a:pt x="0" y="529"/>
                  </a:lnTo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blackWhite">
            <a:xfrm>
              <a:off x="3294063" y="4378325"/>
              <a:ext cx="1719262" cy="1531938"/>
            </a:xfrm>
            <a:custGeom>
              <a:avLst/>
              <a:gdLst>
                <a:gd name="T0" fmla="*/ 2147483647 w 1061"/>
                <a:gd name="T1" fmla="*/ 0 h 946"/>
                <a:gd name="T2" fmla="*/ 0 w 1061"/>
                <a:gd name="T3" fmla="*/ 2147483647 h 946"/>
                <a:gd name="T4" fmla="*/ 2147483647 w 1061"/>
                <a:gd name="T5" fmla="*/ 2147483647 h 946"/>
                <a:gd name="T6" fmla="*/ 2147483647 w 1061"/>
                <a:gd name="T7" fmla="*/ 2147483647 h 946"/>
                <a:gd name="T8" fmla="*/ 2147483647 w 1061"/>
                <a:gd name="T9" fmla="*/ 2147483647 h 946"/>
                <a:gd name="T10" fmla="*/ 2147483647 w 1061"/>
                <a:gd name="T11" fmla="*/ 2147483647 h 946"/>
                <a:gd name="T12" fmla="*/ 2147483647 w 1061"/>
                <a:gd name="T13" fmla="*/ 2147483647 h 946"/>
                <a:gd name="T14" fmla="*/ 2147483647 w 1061"/>
                <a:gd name="T15" fmla="*/ 2147483647 h 946"/>
                <a:gd name="T16" fmla="*/ 2147483647 w 1061"/>
                <a:gd name="T17" fmla="*/ 2147483647 h 946"/>
                <a:gd name="T18" fmla="*/ 2147483647 w 1061"/>
                <a:gd name="T19" fmla="*/ 2147483647 h 946"/>
                <a:gd name="T20" fmla="*/ 2147483647 w 1061"/>
                <a:gd name="T21" fmla="*/ 2147483647 h 946"/>
                <a:gd name="T22" fmla="*/ 2147483647 w 1061"/>
                <a:gd name="T23" fmla="*/ 2147483647 h 946"/>
                <a:gd name="T24" fmla="*/ 2147483647 w 1061"/>
                <a:gd name="T25" fmla="*/ 2147483647 h 946"/>
                <a:gd name="T26" fmla="*/ 2147483647 w 1061"/>
                <a:gd name="T27" fmla="*/ 2147483647 h 946"/>
                <a:gd name="T28" fmla="*/ 2147483647 w 1061"/>
                <a:gd name="T29" fmla="*/ 2147483647 h 946"/>
                <a:gd name="T30" fmla="*/ 2147483647 w 1061"/>
                <a:gd name="T31" fmla="*/ 2147483647 h 946"/>
                <a:gd name="T32" fmla="*/ 2147483647 w 1061"/>
                <a:gd name="T33" fmla="*/ 2147483647 h 946"/>
                <a:gd name="T34" fmla="*/ 2147483647 w 1061"/>
                <a:gd name="T35" fmla="*/ 2147483647 h 946"/>
                <a:gd name="T36" fmla="*/ 2147483647 w 1061"/>
                <a:gd name="T37" fmla="*/ 2147483647 h 946"/>
                <a:gd name="T38" fmla="*/ 2147483647 w 1061"/>
                <a:gd name="T39" fmla="*/ 2147483647 h 946"/>
                <a:gd name="T40" fmla="*/ 2147483647 w 1061"/>
                <a:gd name="T41" fmla="*/ 2147483647 h 946"/>
                <a:gd name="T42" fmla="*/ 2147483647 w 1061"/>
                <a:gd name="T43" fmla="*/ 2147483647 h 946"/>
                <a:gd name="T44" fmla="*/ 2147483647 w 1061"/>
                <a:gd name="T45" fmla="*/ 2147483647 h 946"/>
                <a:gd name="T46" fmla="*/ 2147483647 w 1061"/>
                <a:gd name="T47" fmla="*/ 2147483647 h 946"/>
                <a:gd name="T48" fmla="*/ 2147483647 w 1061"/>
                <a:gd name="T49" fmla="*/ 2147483647 h 946"/>
                <a:gd name="T50" fmla="*/ 2147483647 w 1061"/>
                <a:gd name="T51" fmla="*/ 0 h 94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061"/>
                <a:gd name="T79" fmla="*/ 0 h 946"/>
                <a:gd name="T80" fmla="*/ 1061 w 1061"/>
                <a:gd name="T81" fmla="*/ 946 h 94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061" h="946">
                  <a:moveTo>
                    <a:pt x="372" y="0"/>
                  </a:moveTo>
                  <a:lnTo>
                    <a:pt x="0" y="477"/>
                  </a:lnTo>
                  <a:lnTo>
                    <a:pt x="207" y="395"/>
                  </a:lnTo>
                  <a:lnTo>
                    <a:pt x="252" y="466"/>
                  </a:lnTo>
                  <a:lnTo>
                    <a:pt x="302" y="531"/>
                  </a:lnTo>
                  <a:lnTo>
                    <a:pt x="354" y="592"/>
                  </a:lnTo>
                  <a:lnTo>
                    <a:pt x="410" y="649"/>
                  </a:lnTo>
                  <a:lnTo>
                    <a:pt x="471" y="703"/>
                  </a:lnTo>
                  <a:lnTo>
                    <a:pt x="535" y="751"/>
                  </a:lnTo>
                  <a:lnTo>
                    <a:pt x="602" y="795"/>
                  </a:lnTo>
                  <a:lnTo>
                    <a:pt x="670" y="833"/>
                  </a:lnTo>
                  <a:lnTo>
                    <a:pt x="745" y="867"/>
                  </a:lnTo>
                  <a:lnTo>
                    <a:pt x="818" y="894"/>
                  </a:lnTo>
                  <a:lnTo>
                    <a:pt x="894" y="917"/>
                  </a:lnTo>
                  <a:lnTo>
                    <a:pt x="970" y="934"/>
                  </a:lnTo>
                  <a:lnTo>
                    <a:pt x="1048" y="945"/>
                  </a:lnTo>
                  <a:lnTo>
                    <a:pt x="896" y="669"/>
                  </a:lnTo>
                  <a:lnTo>
                    <a:pt x="1060" y="347"/>
                  </a:lnTo>
                  <a:lnTo>
                    <a:pt x="1004" y="334"/>
                  </a:lnTo>
                  <a:lnTo>
                    <a:pt x="951" y="315"/>
                  </a:lnTo>
                  <a:lnTo>
                    <a:pt x="898" y="290"/>
                  </a:lnTo>
                  <a:lnTo>
                    <a:pt x="850" y="260"/>
                  </a:lnTo>
                  <a:lnTo>
                    <a:pt x="802" y="223"/>
                  </a:lnTo>
                  <a:lnTo>
                    <a:pt x="761" y="184"/>
                  </a:lnTo>
                  <a:lnTo>
                    <a:pt x="938" y="113"/>
                  </a:lnTo>
                  <a:lnTo>
                    <a:pt x="372" y="0"/>
                  </a:lnTo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40" name="Freeform 39"/>
            <p:cNvSpPr>
              <a:spLocks/>
            </p:cNvSpPr>
            <p:nvPr/>
          </p:nvSpPr>
          <p:spPr bwMode="blackWhite">
            <a:xfrm>
              <a:off x="3134390" y="3065463"/>
              <a:ext cx="1531273" cy="1709737"/>
            </a:xfrm>
            <a:custGeom>
              <a:avLst/>
              <a:gdLst>
                <a:gd name="T0" fmla="*/ 2147483647 w 866"/>
                <a:gd name="T1" fmla="*/ 0 h 1055"/>
                <a:gd name="T2" fmla="*/ 0 w 866"/>
                <a:gd name="T3" fmla="*/ 2147483647 h 1055"/>
                <a:gd name="T4" fmla="*/ 2147483647 w 866"/>
                <a:gd name="T5" fmla="*/ 2147483647 h 1055"/>
                <a:gd name="T6" fmla="*/ 2147483647 w 866"/>
                <a:gd name="T7" fmla="*/ 2147483647 h 1055"/>
                <a:gd name="T8" fmla="*/ 2147483647 w 866"/>
                <a:gd name="T9" fmla="*/ 2147483647 h 1055"/>
                <a:gd name="T10" fmla="*/ 2147483647 w 866"/>
                <a:gd name="T11" fmla="*/ 2147483647 h 1055"/>
                <a:gd name="T12" fmla="*/ 2147483647 w 866"/>
                <a:gd name="T13" fmla="*/ 2147483647 h 1055"/>
                <a:gd name="T14" fmla="*/ 2147483647 w 866"/>
                <a:gd name="T15" fmla="*/ 2147483647 h 1055"/>
                <a:gd name="T16" fmla="*/ 2147483647 w 866"/>
                <a:gd name="T17" fmla="*/ 2147483647 h 1055"/>
                <a:gd name="T18" fmla="*/ 2147483647 w 866"/>
                <a:gd name="T19" fmla="*/ 2147483647 h 1055"/>
                <a:gd name="T20" fmla="*/ 2147483647 w 866"/>
                <a:gd name="T21" fmla="*/ 2147483647 h 1055"/>
                <a:gd name="T22" fmla="*/ 2147483647 w 866"/>
                <a:gd name="T23" fmla="*/ 2147483647 h 1055"/>
                <a:gd name="T24" fmla="*/ 2147483647 w 866"/>
                <a:gd name="T25" fmla="*/ 2147483647 h 1055"/>
                <a:gd name="T26" fmla="*/ 2147483647 w 866"/>
                <a:gd name="T27" fmla="*/ 2147483647 h 1055"/>
                <a:gd name="T28" fmla="*/ 2147483647 w 866"/>
                <a:gd name="T29" fmla="*/ 2147483647 h 1055"/>
                <a:gd name="T30" fmla="*/ 2147483647 w 866"/>
                <a:gd name="T31" fmla="*/ 2147483647 h 1055"/>
                <a:gd name="T32" fmla="*/ 2147483647 w 866"/>
                <a:gd name="T33" fmla="*/ 2147483647 h 1055"/>
                <a:gd name="T34" fmla="*/ 2147483647 w 866"/>
                <a:gd name="T35" fmla="*/ 2147483647 h 1055"/>
                <a:gd name="T36" fmla="*/ 2147483647 w 866"/>
                <a:gd name="T37" fmla="*/ 2147483647 h 1055"/>
                <a:gd name="T38" fmla="*/ 2147483647 w 866"/>
                <a:gd name="T39" fmla="*/ 2147483647 h 1055"/>
                <a:gd name="T40" fmla="*/ 2147483647 w 866"/>
                <a:gd name="T41" fmla="*/ 2147483647 h 1055"/>
                <a:gd name="T42" fmla="*/ 2147483647 w 866"/>
                <a:gd name="T43" fmla="*/ 2147483647 h 1055"/>
                <a:gd name="T44" fmla="*/ 2147483647 w 866"/>
                <a:gd name="T45" fmla="*/ 2147483647 h 1055"/>
                <a:gd name="T46" fmla="*/ 2147483647 w 866"/>
                <a:gd name="T47" fmla="*/ 2147483647 h 1055"/>
                <a:gd name="T48" fmla="*/ 2147483647 w 866"/>
                <a:gd name="T49" fmla="*/ 2147483647 h 1055"/>
                <a:gd name="T50" fmla="*/ 2147483647 w 866"/>
                <a:gd name="T51" fmla="*/ 0 h 1055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866"/>
                <a:gd name="T79" fmla="*/ 0 h 1055"/>
                <a:gd name="T80" fmla="*/ 866 w 866"/>
                <a:gd name="T81" fmla="*/ 1055 h 1055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866" h="1055">
                  <a:moveTo>
                    <a:pt x="571" y="0"/>
                  </a:moveTo>
                  <a:lnTo>
                    <a:pt x="0" y="1"/>
                  </a:lnTo>
                  <a:lnTo>
                    <a:pt x="178" y="111"/>
                  </a:lnTo>
                  <a:lnTo>
                    <a:pt x="153" y="187"/>
                  </a:lnTo>
                  <a:lnTo>
                    <a:pt x="130" y="264"/>
                  </a:lnTo>
                  <a:lnTo>
                    <a:pt x="113" y="343"/>
                  </a:lnTo>
                  <a:lnTo>
                    <a:pt x="100" y="423"/>
                  </a:lnTo>
                  <a:lnTo>
                    <a:pt x="94" y="504"/>
                  </a:lnTo>
                  <a:lnTo>
                    <a:pt x="93" y="583"/>
                  </a:lnTo>
                  <a:lnTo>
                    <a:pt x="95" y="664"/>
                  </a:lnTo>
                  <a:lnTo>
                    <a:pt x="104" y="744"/>
                  </a:lnTo>
                  <a:lnTo>
                    <a:pt x="118" y="824"/>
                  </a:lnTo>
                  <a:lnTo>
                    <a:pt x="136" y="903"/>
                  </a:lnTo>
                  <a:lnTo>
                    <a:pt x="159" y="979"/>
                  </a:lnTo>
                  <a:lnTo>
                    <a:pt x="189" y="1054"/>
                  </a:lnTo>
                  <a:lnTo>
                    <a:pt x="412" y="766"/>
                  </a:lnTo>
                  <a:lnTo>
                    <a:pt x="702" y="816"/>
                  </a:lnTo>
                  <a:lnTo>
                    <a:pt x="681" y="760"/>
                  </a:lnTo>
                  <a:lnTo>
                    <a:pt x="666" y="705"/>
                  </a:lnTo>
                  <a:lnTo>
                    <a:pt x="658" y="647"/>
                  </a:lnTo>
                  <a:lnTo>
                    <a:pt x="652" y="588"/>
                  </a:lnTo>
                  <a:lnTo>
                    <a:pt x="652" y="529"/>
                  </a:lnTo>
                  <a:lnTo>
                    <a:pt x="660" y="470"/>
                  </a:lnTo>
                  <a:lnTo>
                    <a:pt x="672" y="413"/>
                  </a:lnTo>
                  <a:lnTo>
                    <a:pt x="865" y="531"/>
                  </a:lnTo>
                  <a:lnTo>
                    <a:pt x="571" y="0"/>
                  </a:lnTo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41" name="Rectangle 40"/>
            <p:cNvSpPr>
              <a:spLocks noChangeArrowheads="1"/>
            </p:cNvSpPr>
            <p:nvPr/>
          </p:nvSpPr>
          <p:spPr bwMode="blackWhite">
            <a:xfrm>
              <a:off x="2898547" y="2538471"/>
              <a:ext cx="1413336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. White</a:t>
              </a:r>
              <a:r>
                <a:rPr lang="en-US" sz="1400" baseline="0">
                  <a:solidFill>
                    <a:schemeClr val="bg1"/>
                  </a:solidFill>
                </a:rPr>
                <a:t>. 14PT</a:t>
              </a: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42" name="Rectangle 41"/>
            <p:cNvSpPr>
              <a:spLocks noChangeArrowheads="1"/>
            </p:cNvSpPr>
            <p:nvPr/>
          </p:nvSpPr>
          <p:spPr bwMode="blackWhite">
            <a:xfrm>
              <a:off x="5890738" y="2805171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43" name="Rectangle 42"/>
            <p:cNvSpPr>
              <a:spLocks noChangeArrowheads="1"/>
            </p:cNvSpPr>
            <p:nvPr/>
          </p:nvSpPr>
          <p:spPr bwMode="blackWhite">
            <a:xfrm>
              <a:off x="6370162" y="4146609"/>
              <a:ext cx="327975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44" name="Rectangle 43"/>
            <p:cNvSpPr>
              <a:spLocks noChangeArrowheads="1"/>
            </p:cNvSpPr>
            <p:nvPr/>
          </p:nvSpPr>
          <p:spPr bwMode="blackWhite">
            <a:xfrm>
              <a:off x="5501800" y="5259446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45" name="Rectangle 44"/>
            <p:cNvSpPr>
              <a:spLocks noChangeArrowheads="1"/>
            </p:cNvSpPr>
            <p:nvPr/>
          </p:nvSpPr>
          <p:spPr bwMode="blackWhite">
            <a:xfrm>
              <a:off x="4166713" y="4962584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46" name="Rectangle 45"/>
            <p:cNvSpPr>
              <a:spLocks noChangeArrowheads="1"/>
            </p:cNvSpPr>
            <p:nvPr/>
          </p:nvSpPr>
          <p:spPr bwMode="blackWhite">
            <a:xfrm>
              <a:off x="3627624" y="3692584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</p:grpSp>
      <p:sp>
        <p:nvSpPr>
          <p:cNvPr id="47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48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4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24A821D7-FED0-48B8-AFE5-3A57F0E24FED}" type="datetime2">
              <a:rPr lang="en-US" smtClean="0"/>
              <a:t>Sunday, October 19, 2025</a:t>
            </a:fld>
            <a:endParaRPr lang="en-US"/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5116786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Slide designed to be used when you only have a small intro paragraph and bullet points. 18PT</a:t>
            </a:r>
          </a:p>
        </p:txBody>
      </p:sp>
      <p:sp>
        <p:nvSpPr>
          <p:cNvPr id="55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5116786" cy="364692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5877152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. Strategy Slide - Process Closed Loop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93C38AE4-B279-4EB8-8554-69F24D6448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6742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93C38AE4-B279-4EB8-8554-69F24D6448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12AB5A7A-288E-4B8B-945D-D3095B3373F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7061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PROCESS CLOSED LOOP WITH LARGE TEXT</a:t>
            </a:r>
          </a:p>
        </p:txBody>
      </p:sp>
      <p:sp>
        <p:nvSpPr>
          <p:cNvPr id="47" name="Arc 3"/>
          <p:cNvSpPr>
            <a:spLocks/>
          </p:cNvSpPr>
          <p:nvPr userDrawn="1"/>
        </p:nvSpPr>
        <p:spPr bwMode="auto">
          <a:xfrm>
            <a:off x="8555775" y="1924512"/>
            <a:ext cx="2043112" cy="1801812"/>
          </a:xfrm>
          <a:custGeom>
            <a:avLst/>
            <a:gdLst>
              <a:gd name="T0" fmla="*/ 0 w 19173"/>
              <a:gd name="T1" fmla="*/ 0 h 21600"/>
              <a:gd name="T2" fmla="*/ 2147483647 w 19173"/>
              <a:gd name="T3" fmla="*/ 2147483647 h 21600"/>
              <a:gd name="T4" fmla="*/ 0 w 19173"/>
              <a:gd name="T5" fmla="*/ 2147483647 h 21600"/>
              <a:gd name="T6" fmla="*/ 0 60000 65536"/>
              <a:gd name="T7" fmla="*/ 0 60000 65536"/>
              <a:gd name="T8" fmla="*/ 0 60000 65536"/>
              <a:gd name="T9" fmla="*/ 0 w 19173"/>
              <a:gd name="T10" fmla="*/ 0 h 21600"/>
              <a:gd name="T11" fmla="*/ 19173 w 19173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9173" h="21600" fill="none" extrusionOk="0">
                <a:moveTo>
                  <a:pt x="-1" y="0"/>
                </a:moveTo>
                <a:cubicBezTo>
                  <a:pt x="8064" y="0"/>
                  <a:pt x="15457" y="4492"/>
                  <a:pt x="19172" y="11651"/>
                </a:cubicBezTo>
              </a:path>
              <a:path w="19173" h="21600" stroke="0" extrusionOk="0">
                <a:moveTo>
                  <a:pt x="-1" y="0"/>
                </a:moveTo>
                <a:cubicBezTo>
                  <a:pt x="8064" y="0"/>
                  <a:pt x="15457" y="4492"/>
                  <a:pt x="19172" y="11651"/>
                </a:cubicBezTo>
                <a:lnTo>
                  <a:pt x="0" y="21600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/>
            <a:tailEnd type="triangle" w="med" len="med"/>
          </a:ln>
        </p:spPr>
        <p:txBody>
          <a:bodyPr wrap="none" lIns="36000" tIns="36000" rIns="36000" bIns="36000" anchor="ctr"/>
          <a:lstStyle/>
          <a:p>
            <a:pPr algn="ctr" eaLnBrk="1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48" name="Arc 4"/>
          <p:cNvSpPr>
            <a:spLocks/>
          </p:cNvSpPr>
          <p:nvPr userDrawn="1"/>
        </p:nvSpPr>
        <p:spPr bwMode="auto">
          <a:xfrm flipV="1">
            <a:off x="8555775" y="3803958"/>
            <a:ext cx="2301875" cy="969963"/>
          </a:xfrm>
          <a:custGeom>
            <a:avLst/>
            <a:gdLst>
              <a:gd name="T0" fmla="*/ 2147483647 w 21600"/>
              <a:gd name="T1" fmla="*/ 0 h 11619"/>
              <a:gd name="T2" fmla="*/ 2147483647 w 21600"/>
              <a:gd name="T3" fmla="*/ 2147483647 h 11619"/>
              <a:gd name="T4" fmla="*/ 0 w 21600"/>
              <a:gd name="T5" fmla="*/ 2147483647 h 11619"/>
              <a:gd name="T6" fmla="*/ 0 60000 65536"/>
              <a:gd name="T7" fmla="*/ 0 60000 65536"/>
              <a:gd name="T8" fmla="*/ 0 60000 65536"/>
              <a:gd name="T9" fmla="*/ 0 w 21600"/>
              <a:gd name="T10" fmla="*/ 0 h 11619"/>
              <a:gd name="T11" fmla="*/ 21600 w 21600"/>
              <a:gd name="T12" fmla="*/ 11619 h 11619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11619" fill="none" extrusionOk="0">
                <a:moveTo>
                  <a:pt x="18208" y="0"/>
                </a:moveTo>
                <a:cubicBezTo>
                  <a:pt x="20423" y="3470"/>
                  <a:pt x="21600" y="7501"/>
                  <a:pt x="21600" y="11619"/>
                </a:cubicBezTo>
              </a:path>
              <a:path w="21600" h="11619" stroke="0" extrusionOk="0">
                <a:moveTo>
                  <a:pt x="18208" y="0"/>
                </a:moveTo>
                <a:cubicBezTo>
                  <a:pt x="20423" y="3470"/>
                  <a:pt x="21600" y="7501"/>
                  <a:pt x="21600" y="11619"/>
                </a:cubicBezTo>
                <a:lnTo>
                  <a:pt x="0" y="11619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rot="10800000" wrap="none" lIns="36000" tIns="36000" rIns="36000" bIns="36000" anchor="ctr"/>
          <a:lstStyle/>
          <a:p>
            <a:pPr algn="ctr" eaLnBrk="1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49" name="Arc 5"/>
          <p:cNvSpPr>
            <a:spLocks/>
          </p:cNvSpPr>
          <p:nvPr userDrawn="1"/>
        </p:nvSpPr>
        <p:spPr bwMode="auto">
          <a:xfrm rot="183362" flipV="1">
            <a:off x="8250238" y="3884613"/>
            <a:ext cx="1851025" cy="1801813"/>
          </a:xfrm>
          <a:custGeom>
            <a:avLst/>
            <a:gdLst>
              <a:gd name="T0" fmla="*/ 0 w 17368"/>
              <a:gd name="T1" fmla="*/ 2147483647 h 21600"/>
              <a:gd name="T2" fmla="*/ 2147483647 w 17368"/>
              <a:gd name="T3" fmla="*/ 2147483647 h 21600"/>
              <a:gd name="T4" fmla="*/ 2147483647 w 17368"/>
              <a:gd name="T5" fmla="*/ 2147483647 h 21600"/>
              <a:gd name="T6" fmla="*/ 0 60000 65536"/>
              <a:gd name="T7" fmla="*/ 0 60000 65536"/>
              <a:gd name="T8" fmla="*/ 0 60000 65536"/>
              <a:gd name="T9" fmla="*/ 0 w 17368"/>
              <a:gd name="T10" fmla="*/ 0 h 21600"/>
              <a:gd name="T11" fmla="*/ 17368 w 17368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7368" h="21600" fill="none" extrusionOk="0">
                <a:moveTo>
                  <a:pt x="0" y="189"/>
                </a:moveTo>
                <a:cubicBezTo>
                  <a:pt x="945" y="63"/>
                  <a:pt x="1898" y="-1"/>
                  <a:pt x="2852" y="0"/>
                </a:cubicBezTo>
                <a:cubicBezTo>
                  <a:pt x="8218" y="0"/>
                  <a:pt x="13393" y="1998"/>
                  <a:pt x="17368" y="5604"/>
                </a:cubicBezTo>
              </a:path>
              <a:path w="17368" h="21600" stroke="0" extrusionOk="0">
                <a:moveTo>
                  <a:pt x="0" y="189"/>
                </a:moveTo>
                <a:cubicBezTo>
                  <a:pt x="945" y="63"/>
                  <a:pt x="1898" y="-1"/>
                  <a:pt x="2852" y="0"/>
                </a:cubicBezTo>
                <a:cubicBezTo>
                  <a:pt x="8218" y="0"/>
                  <a:pt x="13393" y="1998"/>
                  <a:pt x="17368" y="5604"/>
                </a:cubicBezTo>
                <a:lnTo>
                  <a:pt x="2852" y="21600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rot="10800000" wrap="none" lIns="36000" tIns="36000" rIns="36000" bIns="36000" anchor="ctr"/>
          <a:lstStyle/>
          <a:p>
            <a:pPr algn="ctr" eaLnBrk="1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54" name="Arc 6"/>
          <p:cNvSpPr>
            <a:spLocks/>
          </p:cNvSpPr>
          <p:nvPr userDrawn="1"/>
        </p:nvSpPr>
        <p:spPr bwMode="auto">
          <a:xfrm flipH="1" flipV="1">
            <a:off x="6312637" y="3726324"/>
            <a:ext cx="2244725" cy="1592263"/>
          </a:xfrm>
          <a:custGeom>
            <a:avLst/>
            <a:gdLst>
              <a:gd name="T0" fmla="*/ 2147483647 w 21027"/>
              <a:gd name="T1" fmla="*/ 0 h 19082"/>
              <a:gd name="T2" fmla="*/ 2147483647 w 21027"/>
              <a:gd name="T3" fmla="*/ 2147483647 h 19082"/>
              <a:gd name="T4" fmla="*/ 0 w 21027"/>
              <a:gd name="T5" fmla="*/ 2147483647 h 19082"/>
              <a:gd name="T6" fmla="*/ 0 60000 65536"/>
              <a:gd name="T7" fmla="*/ 0 60000 65536"/>
              <a:gd name="T8" fmla="*/ 0 60000 65536"/>
              <a:gd name="T9" fmla="*/ 0 w 21027"/>
              <a:gd name="T10" fmla="*/ 0 h 19082"/>
              <a:gd name="T11" fmla="*/ 21027 w 21027"/>
              <a:gd name="T12" fmla="*/ 19082 h 1908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027" h="19082" fill="none" extrusionOk="0">
                <a:moveTo>
                  <a:pt x="10121" y="0"/>
                </a:moveTo>
                <a:cubicBezTo>
                  <a:pt x="15625" y="2919"/>
                  <a:pt x="19601" y="8073"/>
                  <a:pt x="21026" y="14139"/>
                </a:cubicBezTo>
              </a:path>
              <a:path w="21027" h="19082" stroke="0" extrusionOk="0">
                <a:moveTo>
                  <a:pt x="10121" y="0"/>
                </a:moveTo>
                <a:cubicBezTo>
                  <a:pt x="15625" y="2919"/>
                  <a:pt x="19601" y="8073"/>
                  <a:pt x="21026" y="14139"/>
                </a:cubicBezTo>
                <a:lnTo>
                  <a:pt x="0" y="19082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/>
            <a:tailEnd type="triangle" w="med" len="med"/>
          </a:ln>
        </p:spPr>
        <p:txBody>
          <a:bodyPr rot="10800000" wrap="none" lIns="36000" tIns="36000" rIns="36000" bIns="36000" anchor="ctr"/>
          <a:lstStyle/>
          <a:p>
            <a:pPr algn="ctr" eaLnBrk="1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55" name="Arc 7"/>
          <p:cNvSpPr>
            <a:spLocks/>
          </p:cNvSpPr>
          <p:nvPr userDrawn="1"/>
        </p:nvSpPr>
        <p:spPr bwMode="auto">
          <a:xfrm flipH="1">
            <a:off x="6279300" y="2067387"/>
            <a:ext cx="2278062" cy="1658937"/>
          </a:xfrm>
          <a:custGeom>
            <a:avLst/>
            <a:gdLst>
              <a:gd name="T0" fmla="*/ 2147483647 w 21347"/>
              <a:gd name="T1" fmla="*/ 0 h 19905"/>
              <a:gd name="T2" fmla="*/ 2147483647 w 21347"/>
              <a:gd name="T3" fmla="*/ 2147483647 h 19905"/>
              <a:gd name="T4" fmla="*/ 0 w 21347"/>
              <a:gd name="T5" fmla="*/ 2147483647 h 19905"/>
              <a:gd name="T6" fmla="*/ 0 60000 65536"/>
              <a:gd name="T7" fmla="*/ 0 60000 65536"/>
              <a:gd name="T8" fmla="*/ 0 60000 65536"/>
              <a:gd name="T9" fmla="*/ 0 w 21347"/>
              <a:gd name="T10" fmla="*/ 0 h 19905"/>
              <a:gd name="T11" fmla="*/ 21347 w 21347"/>
              <a:gd name="T12" fmla="*/ 19905 h 1990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347" h="19905" fill="none" extrusionOk="0">
                <a:moveTo>
                  <a:pt x="8386" y="-1"/>
                </a:moveTo>
                <a:cubicBezTo>
                  <a:pt x="15295" y="2910"/>
                  <a:pt x="20201" y="9196"/>
                  <a:pt x="21346" y="16606"/>
                </a:cubicBezTo>
              </a:path>
              <a:path w="21347" h="19905" stroke="0" extrusionOk="0">
                <a:moveTo>
                  <a:pt x="8386" y="-1"/>
                </a:moveTo>
                <a:cubicBezTo>
                  <a:pt x="15295" y="2910"/>
                  <a:pt x="20201" y="9196"/>
                  <a:pt x="21346" y="16606"/>
                </a:cubicBezTo>
                <a:lnTo>
                  <a:pt x="0" y="19905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wrap="none" lIns="36000" tIns="36000" rIns="36000" bIns="36000" anchor="ctr"/>
          <a:lstStyle/>
          <a:p>
            <a:pPr algn="ctr" eaLnBrk="1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75" name="Oval 8"/>
          <p:cNvSpPr>
            <a:spLocks noChangeArrowheads="1"/>
          </p:cNvSpPr>
          <p:nvPr userDrawn="1"/>
        </p:nvSpPr>
        <p:spPr bwMode="auto">
          <a:xfrm>
            <a:off x="9048888" y="4635962"/>
            <a:ext cx="1743075" cy="1238250"/>
          </a:xfrm>
          <a:prstGeom prst="ellipse">
            <a:avLst/>
          </a:prstGeom>
          <a:solidFill>
            <a:schemeClr val="accent3"/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6" name="Oval 9"/>
          <p:cNvSpPr>
            <a:spLocks noChangeArrowheads="1"/>
          </p:cNvSpPr>
          <p:nvPr userDrawn="1"/>
        </p:nvSpPr>
        <p:spPr bwMode="auto">
          <a:xfrm>
            <a:off x="5612550" y="2894474"/>
            <a:ext cx="1738312" cy="1235075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7" name="Oval 10"/>
          <p:cNvSpPr>
            <a:spLocks noChangeArrowheads="1"/>
          </p:cNvSpPr>
          <p:nvPr userDrawn="1"/>
        </p:nvSpPr>
        <p:spPr bwMode="auto">
          <a:xfrm>
            <a:off x="6571400" y="4635962"/>
            <a:ext cx="1738312" cy="123825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8" name="Oval 11"/>
          <p:cNvSpPr>
            <a:spLocks noChangeArrowheads="1"/>
          </p:cNvSpPr>
          <p:nvPr userDrawn="1"/>
        </p:nvSpPr>
        <p:spPr bwMode="auto">
          <a:xfrm>
            <a:off x="9835300" y="2894474"/>
            <a:ext cx="1744662" cy="1235075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9" name="Oval 12"/>
          <p:cNvSpPr>
            <a:spLocks noChangeArrowheads="1"/>
          </p:cNvSpPr>
          <p:nvPr userDrawn="1"/>
        </p:nvSpPr>
        <p:spPr bwMode="auto">
          <a:xfrm>
            <a:off x="7684237" y="1438737"/>
            <a:ext cx="1739900" cy="11890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80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81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82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8D569169-6252-4223-9C44-F0DB84BC380C}" type="datetime2">
              <a:rPr lang="en-US" smtClean="0"/>
              <a:t>Sunday, October 19, 2025</a:t>
            </a:fld>
            <a:endParaRPr lang="en-US"/>
          </a:p>
        </p:txBody>
      </p:sp>
      <p:sp>
        <p:nvSpPr>
          <p:cNvPr id="85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799" y="1698045"/>
            <a:ext cx="4727325" cy="390592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s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10952449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. Strategy Slide - Direct Reports Or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255AF908-E693-430C-A758-3A9795ECD2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9904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255AF908-E693-430C-A758-3A9795ECD2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E8F4DA4E-B32C-4478-A3ED-55FDD4938AF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0248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DIRECT REPORTS ORG CHART.</a:t>
            </a:r>
          </a:p>
        </p:txBody>
      </p:sp>
      <p:sp>
        <p:nvSpPr>
          <p:cNvPr id="125" name="Rectangle 124"/>
          <p:cNvSpPr/>
          <p:nvPr/>
        </p:nvSpPr>
        <p:spPr>
          <a:xfrm>
            <a:off x="5428481" y="1565718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cxnSp>
        <p:nvCxnSpPr>
          <p:cNvPr id="81" name="Straight Connector 80"/>
          <p:cNvCxnSpPr/>
          <p:nvPr/>
        </p:nvCxnSpPr>
        <p:spPr>
          <a:xfrm>
            <a:off x="1088796" y="3433191"/>
            <a:ext cx="8490978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/>
          <p:nvPr/>
        </p:nvCxnSpPr>
        <p:spPr>
          <a:xfrm>
            <a:off x="9579775" y="3433191"/>
            <a:ext cx="1481343" cy="0"/>
          </a:xfrm>
          <a:prstGeom prst="line">
            <a:avLst/>
          </a:prstGeom>
          <a:ln w="6350">
            <a:solidFill>
              <a:schemeClr val="tx2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120"/>
          <p:cNvCxnSpPr/>
          <p:nvPr/>
        </p:nvCxnSpPr>
        <p:spPr>
          <a:xfrm>
            <a:off x="9582047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/>
          <p:cNvCxnSpPr/>
          <p:nvPr/>
        </p:nvCxnSpPr>
        <p:spPr>
          <a:xfrm>
            <a:off x="11061118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/>
          <p:cNvCxnSpPr/>
          <p:nvPr/>
        </p:nvCxnSpPr>
        <p:spPr>
          <a:xfrm>
            <a:off x="5302440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/>
          <p:nvPr/>
        </p:nvCxnSpPr>
        <p:spPr>
          <a:xfrm>
            <a:off x="3925703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/>
          <p:cNvCxnSpPr/>
          <p:nvPr/>
        </p:nvCxnSpPr>
        <p:spPr>
          <a:xfrm>
            <a:off x="2513310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/>
          <p:nvPr/>
        </p:nvCxnSpPr>
        <p:spPr>
          <a:xfrm>
            <a:off x="1088796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42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43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90FCEDF8-E01B-4D65-B800-77998C5C87E1}" type="datetime2">
              <a:rPr lang="en-US" smtClean="0"/>
              <a:t>Sunday, October 19, 2025</a:t>
            </a:fld>
            <a:endParaRPr lang="en-US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5519781" y="1674479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5519781" y="2691366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44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19781" y="2856097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cxnSp>
        <p:nvCxnSpPr>
          <p:cNvPr id="145" name="Straight Connector 144"/>
          <p:cNvCxnSpPr/>
          <p:nvPr/>
        </p:nvCxnSpPr>
        <p:spPr>
          <a:xfrm>
            <a:off x="6057406" y="3086187"/>
            <a:ext cx="0" cy="343134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/>
          <p:cNvCxnSpPr/>
          <p:nvPr/>
        </p:nvCxnSpPr>
        <p:spPr>
          <a:xfrm>
            <a:off x="6760791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/>
          <p:cNvCxnSpPr/>
          <p:nvPr/>
        </p:nvCxnSpPr>
        <p:spPr>
          <a:xfrm>
            <a:off x="8153492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Rectangle 150"/>
          <p:cNvSpPr/>
          <p:nvPr userDrawn="1"/>
        </p:nvSpPr>
        <p:spPr>
          <a:xfrm>
            <a:off x="432838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52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524138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53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24138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54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24138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55" name="Rectangle 154"/>
          <p:cNvSpPr/>
          <p:nvPr userDrawn="1"/>
        </p:nvSpPr>
        <p:spPr>
          <a:xfrm>
            <a:off x="1859057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56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1950357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57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1950357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5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1950357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59" name="Rectangle 158"/>
          <p:cNvSpPr/>
          <p:nvPr userDrawn="1"/>
        </p:nvSpPr>
        <p:spPr>
          <a:xfrm>
            <a:off x="3272950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60" name="Picture Placeholder 4"/>
          <p:cNvSpPr>
            <a:spLocks noGrp="1"/>
          </p:cNvSpPr>
          <p:nvPr>
            <p:ph type="pic" sz="quarter" idx="19" hasCustomPrompt="1"/>
          </p:nvPr>
        </p:nvSpPr>
        <p:spPr>
          <a:xfrm>
            <a:off x="3364250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1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3364250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62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364250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63" name="Rectangle 162"/>
          <p:cNvSpPr/>
          <p:nvPr userDrawn="1"/>
        </p:nvSpPr>
        <p:spPr>
          <a:xfrm>
            <a:off x="4646564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64" name="Picture Placeholder 4"/>
          <p:cNvSpPr>
            <a:spLocks noGrp="1"/>
          </p:cNvSpPr>
          <p:nvPr>
            <p:ph type="pic" sz="quarter" idx="22" hasCustomPrompt="1"/>
          </p:nvPr>
        </p:nvSpPr>
        <p:spPr>
          <a:xfrm>
            <a:off x="4737864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5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737864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66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4737864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67" name="Rectangle 166"/>
          <p:cNvSpPr/>
          <p:nvPr userDrawn="1"/>
        </p:nvSpPr>
        <p:spPr>
          <a:xfrm>
            <a:off x="6100746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68" name="Picture Placeholder 4"/>
          <p:cNvSpPr>
            <a:spLocks noGrp="1"/>
          </p:cNvSpPr>
          <p:nvPr>
            <p:ph type="pic" sz="quarter" idx="25" hasCustomPrompt="1"/>
          </p:nvPr>
        </p:nvSpPr>
        <p:spPr>
          <a:xfrm>
            <a:off x="6192046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9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6192046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0" name="Text Placeholder 7"/>
          <p:cNvSpPr>
            <a:spLocks noGrp="1"/>
          </p:cNvSpPr>
          <p:nvPr>
            <p:ph type="body" sz="quarter" idx="27" hasCustomPrompt="1"/>
          </p:nvPr>
        </p:nvSpPr>
        <p:spPr>
          <a:xfrm>
            <a:off x="6192046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1" name="Rectangle 170"/>
          <p:cNvSpPr/>
          <p:nvPr userDrawn="1"/>
        </p:nvSpPr>
        <p:spPr>
          <a:xfrm>
            <a:off x="7498529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72" name="Picture Placeholder 4"/>
          <p:cNvSpPr>
            <a:spLocks noGrp="1"/>
          </p:cNvSpPr>
          <p:nvPr>
            <p:ph type="pic" sz="quarter" idx="28" hasCustomPrompt="1"/>
          </p:nvPr>
        </p:nvSpPr>
        <p:spPr>
          <a:xfrm>
            <a:off x="7589829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73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7589829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4" name="Text Placeholder 7"/>
          <p:cNvSpPr>
            <a:spLocks noGrp="1"/>
          </p:cNvSpPr>
          <p:nvPr>
            <p:ph type="body" sz="quarter" idx="30" hasCustomPrompt="1"/>
          </p:nvPr>
        </p:nvSpPr>
        <p:spPr>
          <a:xfrm>
            <a:off x="7589829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5" name="Rectangle 174"/>
          <p:cNvSpPr/>
          <p:nvPr userDrawn="1"/>
        </p:nvSpPr>
        <p:spPr>
          <a:xfrm>
            <a:off x="8927502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76" name="Picture Placeholder 4"/>
          <p:cNvSpPr>
            <a:spLocks noGrp="1"/>
          </p:cNvSpPr>
          <p:nvPr>
            <p:ph type="pic" sz="quarter" idx="31" hasCustomPrompt="1"/>
          </p:nvPr>
        </p:nvSpPr>
        <p:spPr>
          <a:xfrm>
            <a:off x="9018802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77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9018802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8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9018802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9" name="Rectangle 178"/>
          <p:cNvSpPr/>
          <p:nvPr userDrawn="1"/>
        </p:nvSpPr>
        <p:spPr>
          <a:xfrm>
            <a:off x="10405847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80" name="Picture Placeholder 4"/>
          <p:cNvSpPr>
            <a:spLocks noGrp="1"/>
          </p:cNvSpPr>
          <p:nvPr>
            <p:ph type="pic" sz="quarter" idx="34" hasCustomPrompt="1"/>
          </p:nvPr>
        </p:nvSpPr>
        <p:spPr>
          <a:xfrm>
            <a:off x="10497147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81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10497147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82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10497147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5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60655062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. Strategy Slide - Company/Function Or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E5A94F79-3A9D-4B26-B0B4-54E0570835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56027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E5A94F79-3A9D-4B26-B0B4-54E0570835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F2FF857E-19FC-4DFA-93C2-FA79EA29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6047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MPANY / FUNCTION ORG CHART.</a:t>
            </a:r>
          </a:p>
        </p:txBody>
      </p:sp>
      <p:cxnSp>
        <p:nvCxnSpPr>
          <p:cNvPr id="143" name="Straight Connector 142"/>
          <p:cNvCxnSpPr>
            <a:stCxn id="210" idx="2"/>
          </p:cNvCxnSpPr>
          <p:nvPr userDrawn="1"/>
        </p:nvCxnSpPr>
        <p:spPr>
          <a:xfrm>
            <a:off x="5367448" y="2111551"/>
            <a:ext cx="0" cy="568149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143"/>
          <p:cNvCxnSpPr/>
          <p:nvPr userDrawn="1"/>
        </p:nvCxnSpPr>
        <p:spPr>
          <a:xfrm flipH="1">
            <a:off x="2979125" y="2530165"/>
            <a:ext cx="485527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ounded Rectangle 144"/>
          <p:cNvSpPr/>
          <p:nvPr userDrawn="1"/>
        </p:nvSpPr>
        <p:spPr>
          <a:xfrm>
            <a:off x="2112960" y="27076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46" name="Straight Connector 145"/>
          <p:cNvCxnSpPr/>
          <p:nvPr userDrawn="1"/>
        </p:nvCxnSpPr>
        <p:spPr>
          <a:xfrm>
            <a:off x="2977056" y="2530165"/>
            <a:ext cx="0" cy="149535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Rounded Rectangle 146"/>
          <p:cNvSpPr/>
          <p:nvPr userDrawn="1"/>
        </p:nvSpPr>
        <p:spPr>
          <a:xfrm>
            <a:off x="1534225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48" name="Rounded Rectangle 147"/>
          <p:cNvSpPr/>
          <p:nvPr userDrawn="1"/>
        </p:nvSpPr>
        <p:spPr>
          <a:xfrm>
            <a:off x="1534225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49" name="Rounded Rectangle 148"/>
          <p:cNvSpPr/>
          <p:nvPr userDrawn="1"/>
        </p:nvSpPr>
        <p:spPr>
          <a:xfrm>
            <a:off x="1534225" y="47400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50" name="Rounded Rectangle 149"/>
          <p:cNvSpPr/>
          <p:nvPr userDrawn="1"/>
        </p:nvSpPr>
        <p:spPr>
          <a:xfrm>
            <a:off x="1534225" y="5376518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51" name="Straight Connector 150"/>
          <p:cNvCxnSpPr/>
          <p:nvPr userDrawn="1"/>
        </p:nvCxnSpPr>
        <p:spPr>
          <a:xfrm>
            <a:off x="3518616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/>
          <p:cNvCxnSpPr/>
          <p:nvPr userDrawn="1"/>
        </p:nvCxnSpPr>
        <p:spPr>
          <a:xfrm flipH="1">
            <a:off x="3331590" y="4350378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/>
          <p:cNvCxnSpPr/>
          <p:nvPr userDrawn="1"/>
        </p:nvCxnSpPr>
        <p:spPr>
          <a:xfrm>
            <a:off x="3697136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/>
          <p:cNvCxnSpPr/>
          <p:nvPr userDrawn="1"/>
        </p:nvCxnSpPr>
        <p:spPr>
          <a:xfrm rot="-5400000">
            <a:off x="3796653" y="5536653"/>
            <a:ext cx="0" cy="201706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ounded Rectangle 157"/>
          <p:cNvSpPr/>
          <p:nvPr userDrawn="1"/>
        </p:nvSpPr>
        <p:spPr>
          <a:xfrm>
            <a:off x="4486666" y="27076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59" name="Rounded Rectangle 158"/>
          <p:cNvSpPr/>
          <p:nvPr userDrawn="1"/>
        </p:nvSpPr>
        <p:spPr>
          <a:xfrm>
            <a:off x="3944993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60" name="Rounded Rectangle 159"/>
          <p:cNvSpPr/>
          <p:nvPr userDrawn="1"/>
        </p:nvSpPr>
        <p:spPr>
          <a:xfrm>
            <a:off x="3944993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61" name="Rounded Rectangle 160"/>
          <p:cNvSpPr/>
          <p:nvPr userDrawn="1"/>
        </p:nvSpPr>
        <p:spPr>
          <a:xfrm>
            <a:off x="3944993" y="47400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62" name="Rounded Rectangle 161"/>
          <p:cNvSpPr/>
          <p:nvPr userDrawn="1"/>
        </p:nvSpPr>
        <p:spPr>
          <a:xfrm>
            <a:off x="3944993" y="5376518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63" name="Straight Connector 162"/>
          <p:cNvCxnSpPr/>
          <p:nvPr userDrawn="1"/>
        </p:nvCxnSpPr>
        <p:spPr>
          <a:xfrm>
            <a:off x="5929384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Connector 163"/>
          <p:cNvCxnSpPr/>
          <p:nvPr userDrawn="1"/>
        </p:nvCxnSpPr>
        <p:spPr>
          <a:xfrm flipH="1">
            <a:off x="5750905" y="3705221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4" name="Rounded Rectangle 173"/>
          <p:cNvSpPr/>
          <p:nvPr userDrawn="1"/>
        </p:nvSpPr>
        <p:spPr>
          <a:xfrm>
            <a:off x="6849249" y="2723664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75" name="Rounded Rectangle 174"/>
          <p:cNvSpPr/>
          <p:nvPr userDrawn="1"/>
        </p:nvSpPr>
        <p:spPr>
          <a:xfrm>
            <a:off x="6307576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76" name="Rounded Rectangle 175"/>
          <p:cNvSpPr/>
          <p:nvPr userDrawn="1"/>
        </p:nvSpPr>
        <p:spPr>
          <a:xfrm>
            <a:off x="6307576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77" name="Straight Connector 176"/>
          <p:cNvCxnSpPr/>
          <p:nvPr userDrawn="1"/>
        </p:nvCxnSpPr>
        <p:spPr>
          <a:xfrm>
            <a:off x="8291967" y="3281832"/>
            <a:ext cx="0" cy="1068546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0" name="Rounded Rectangle 179"/>
          <p:cNvSpPr/>
          <p:nvPr userDrawn="1"/>
        </p:nvSpPr>
        <p:spPr>
          <a:xfrm>
            <a:off x="9018041" y="3445559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81" name="Rounded Rectangle 180"/>
          <p:cNvSpPr/>
          <p:nvPr userDrawn="1"/>
        </p:nvSpPr>
        <p:spPr>
          <a:xfrm>
            <a:off x="8476368" y="417734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82" name="Rounded Rectangle 181"/>
          <p:cNvSpPr/>
          <p:nvPr userDrawn="1"/>
        </p:nvSpPr>
        <p:spPr>
          <a:xfrm>
            <a:off x="8476368" y="4830540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83" name="Rounded Rectangle 182"/>
          <p:cNvSpPr/>
          <p:nvPr userDrawn="1"/>
        </p:nvSpPr>
        <p:spPr>
          <a:xfrm>
            <a:off x="8476368" y="546191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85" name="Straight Connector 184"/>
          <p:cNvCxnSpPr/>
          <p:nvPr userDrawn="1"/>
        </p:nvCxnSpPr>
        <p:spPr>
          <a:xfrm>
            <a:off x="10460759" y="4003727"/>
            <a:ext cx="0" cy="171585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Connector 185"/>
          <p:cNvCxnSpPr/>
          <p:nvPr userDrawn="1"/>
        </p:nvCxnSpPr>
        <p:spPr>
          <a:xfrm flipH="1">
            <a:off x="10291072" y="4427116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Straight Connector 198"/>
          <p:cNvCxnSpPr/>
          <p:nvPr userDrawn="1"/>
        </p:nvCxnSpPr>
        <p:spPr>
          <a:xfrm>
            <a:off x="7834402" y="2530165"/>
            <a:ext cx="0" cy="177457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Straight Connector 199"/>
          <p:cNvCxnSpPr/>
          <p:nvPr userDrawn="1"/>
        </p:nvCxnSpPr>
        <p:spPr>
          <a:xfrm flipH="1">
            <a:off x="6322236" y="1853247"/>
            <a:ext cx="3545494" cy="0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Straight Connector 200"/>
          <p:cNvCxnSpPr/>
          <p:nvPr userDrawn="1"/>
        </p:nvCxnSpPr>
        <p:spPr>
          <a:xfrm flipV="1">
            <a:off x="9867730" y="1852539"/>
            <a:ext cx="0" cy="1560250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Straight Connector 205"/>
          <p:cNvCxnSpPr/>
          <p:nvPr userDrawn="1"/>
        </p:nvCxnSpPr>
        <p:spPr>
          <a:xfrm flipH="1">
            <a:off x="8104941" y="3725455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0" name="Rounded Rectangle 209"/>
          <p:cNvSpPr/>
          <p:nvPr userDrawn="1"/>
        </p:nvSpPr>
        <p:spPr>
          <a:xfrm>
            <a:off x="4486666" y="160589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20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610101" y="1738623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09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610101" y="1903354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04650" y="2841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2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604650" y="3005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3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976375" y="2841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4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6976375" y="3005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5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2239275" y="2841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6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2239275" y="3005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17" name="Straight Connector 216"/>
          <p:cNvCxnSpPr/>
          <p:nvPr userDrawn="1"/>
        </p:nvCxnSpPr>
        <p:spPr>
          <a:xfrm flipH="1">
            <a:off x="8104941" y="4350930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8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1661425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9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1661425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20" name="Straight Connector 219"/>
          <p:cNvCxnSpPr/>
          <p:nvPr userDrawn="1"/>
        </p:nvCxnSpPr>
        <p:spPr>
          <a:xfrm flipH="1">
            <a:off x="3331590" y="3734428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/>
          <p:cNvCxnSpPr/>
          <p:nvPr userDrawn="1"/>
        </p:nvCxnSpPr>
        <p:spPr>
          <a:xfrm flipH="1">
            <a:off x="3331590" y="5007603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/>
          <p:cNvCxnSpPr/>
          <p:nvPr userDrawn="1"/>
        </p:nvCxnSpPr>
        <p:spPr>
          <a:xfrm flipH="1">
            <a:off x="3331590" y="5633078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1661425" y="424127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4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1661425" y="440600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25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1661425" y="486992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6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1661425" y="503465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27" name="Text Placeholder 7"/>
          <p:cNvSpPr>
            <a:spLocks noGrp="1"/>
          </p:cNvSpPr>
          <p:nvPr>
            <p:ph type="body" sz="quarter" idx="25" hasCustomPrompt="1"/>
          </p:nvPr>
        </p:nvSpPr>
        <p:spPr>
          <a:xfrm>
            <a:off x="1661425" y="5508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8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1661425" y="5672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0" name="Text Placeholder 7"/>
          <p:cNvSpPr>
            <a:spLocks noGrp="1"/>
          </p:cNvSpPr>
          <p:nvPr>
            <p:ph type="body" sz="quarter" idx="27" hasCustomPrompt="1"/>
          </p:nvPr>
        </p:nvSpPr>
        <p:spPr>
          <a:xfrm>
            <a:off x="4063966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1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4063966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2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4063966" y="424127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3" name="Text Placeholder 7"/>
          <p:cNvSpPr>
            <a:spLocks noGrp="1"/>
          </p:cNvSpPr>
          <p:nvPr>
            <p:ph type="body" sz="quarter" idx="30" hasCustomPrompt="1"/>
          </p:nvPr>
        </p:nvSpPr>
        <p:spPr>
          <a:xfrm>
            <a:off x="4063966" y="440600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4" name="Text Placeholder 7"/>
          <p:cNvSpPr>
            <a:spLocks noGrp="1"/>
          </p:cNvSpPr>
          <p:nvPr>
            <p:ph type="body" sz="quarter" idx="31" hasCustomPrompt="1"/>
          </p:nvPr>
        </p:nvSpPr>
        <p:spPr>
          <a:xfrm>
            <a:off x="4063966" y="486992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5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4063966" y="503465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6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4063966" y="5508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7" name="Text Placeholder 7"/>
          <p:cNvSpPr>
            <a:spLocks noGrp="1"/>
          </p:cNvSpPr>
          <p:nvPr>
            <p:ph type="body" sz="quarter" idx="34" hasCustomPrompt="1"/>
          </p:nvPr>
        </p:nvSpPr>
        <p:spPr>
          <a:xfrm>
            <a:off x="4063966" y="5672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5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8600107" y="4312984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46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8600107" y="4477715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7" name="Text Placeholder 7"/>
          <p:cNvSpPr>
            <a:spLocks noGrp="1"/>
          </p:cNvSpPr>
          <p:nvPr>
            <p:ph type="body" sz="quarter" idx="37" hasCustomPrompt="1"/>
          </p:nvPr>
        </p:nvSpPr>
        <p:spPr>
          <a:xfrm>
            <a:off x="8600107" y="4941634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48" name="Text Placeholder 7"/>
          <p:cNvSpPr>
            <a:spLocks noGrp="1"/>
          </p:cNvSpPr>
          <p:nvPr>
            <p:ph type="body" sz="quarter" idx="38" hasCustomPrompt="1"/>
          </p:nvPr>
        </p:nvSpPr>
        <p:spPr>
          <a:xfrm>
            <a:off x="8600107" y="5106365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9" name="Text Placeholder 7"/>
          <p:cNvSpPr>
            <a:spLocks noGrp="1"/>
          </p:cNvSpPr>
          <p:nvPr>
            <p:ph type="body" sz="quarter" idx="39" hasCustomPrompt="1"/>
          </p:nvPr>
        </p:nvSpPr>
        <p:spPr>
          <a:xfrm>
            <a:off x="8600107" y="5579809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0" name="Text Placeholder 7"/>
          <p:cNvSpPr>
            <a:spLocks noGrp="1"/>
          </p:cNvSpPr>
          <p:nvPr>
            <p:ph type="body" sz="quarter" idx="40" hasCustomPrompt="1"/>
          </p:nvPr>
        </p:nvSpPr>
        <p:spPr>
          <a:xfrm>
            <a:off x="8600107" y="5744540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1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6436625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2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6436625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3" name="Text Placeholder 7"/>
          <p:cNvSpPr>
            <a:spLocks noGrp="1"/>
          </p:cNvSpPr>
          <p:nvPr>
            <p:ph type="body" sz="quarter" idx="43" hasCustomPrompt="1"/>
          </p:nvPr>
        </p:nvSpPr>
        <p:spPr>
          <a:xfrm>
            <a:off x="6436625" y="424127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4" name="Text Placeholder 7"/>
          <p:cNvSpPr>
            <a:spLocks noGrp="1"/>
          </p:cNvSpPr>
          <p:nvPr>
            <p:ph type="body" sz="quarter" idx="44" hasCustomPrompt="1"/>
          </p:nvPr>
        </p:nvSpPr>
        <p:spPr>
          <a:xfrm>
            <a:off x="6436625" y="440600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5" name="Text Placeholder 7"/>
          <p:cNvSpPr>
            <a:spLocks noGrp="1"/>
          </p:cNvSpPr>
          <p:nvPr>
            <p:ph type="body" sz="quarter" idx="45" hasCustomPrompt="1"/>
          </p:nvPr>
        </p:nvSpPr>
        <p:spPr>
          <a:xfrm>
            <a:off x="9161895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6" name="Text Placeholder 7"/>
          <p:cNvSpPr>
            <a:spLocks noGrp="1"/>
          </p:cNvSpPr>
          <p:nvPr>
            <p:ph type="body" sz="quarter" idx="46" hasCustomPrompt="1"/>
          </p:nvPr>
        </p:nvSpPr>
        <p:spPr>
          <a:xfrm>
            <a:off x="9161895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57" name="Straight Connector 256"/>
          <p:cNvCxnSpPr/>
          <p:nvPr userDrawn="1"/>
        </p:nvCxnSpPr>
        <p:spPr>
          <a:xfrm flipH="1">
            <a:off x="10291072" y="5104123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8" name="Straight Connector 257"/>
          <p:cNvCxnSpPr/>
          <p:nvPr userDrawn="1"/>
        </p:nvCxnSpPr>
        <p:spPr>
          <a:xfrm flipH="1">
            <a:off x="10291072" y="5719585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9" name="Straight Connector 258"/>
          <p:cNvCxnSpPr/>
          <p:nvPr userDrawn="1"/>
        </p:nvCxnSpPr>
        <p:spPr>
          <a:xfrm flipH="1">
            <a:off x="5750905" y="4377832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0" name="Straight Connector 259"/>
          <p:cNvCxnSpPr/>
          <p:nvPr userDrawn="1"/>
        </p:nvCxnSpPr>
        <p:spPr>
          <a:xfrm flipH="1">
            <a:off x="5750905" y="5024067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Straight Connector 260"/>
          <p:cNvCxnSpPr/>
          <p:nvPr userDrawn="1"/>
        </p:nvCxnSpPr>
        <p:spPr>
          <a:xfrm flipH="1">
            <a:off x="5750905" y="5630736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8913325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. Strategy Slid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ACFBB21C-610C-4479-8329-40032A76CE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20664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ACFBB21C-610C-4479-8329-40032A76CE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5D26391B-1B66-41F8-9FF7-E099C58466D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58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BLANK SLIDE FOR BESPOKE USE.</a:t>
            </a:r>
          </a:p>
        </p:txBody>
      </p:sp>
      <p:sp>
        <p:nvSpPr>
          <p:cNvPr id="7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7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90C599CF-32FC-4546-9071-AED32C48D7AE}" type="datetime2">
              <a:rPr lang="en-US" smtClean="0"/>
              <a:t>Sunday, October 19, 2025</a:t>
            </a:fld>
            <a:endParaRPr lang="en-US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8013469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. Strategy Slide Blank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5F9DF8BF-4474-44F7-AE1B-863796BE7E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9644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5F9DF8BF-4474-44F7-AE1B-863796BE7E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723BE91F-E086-4328-991A-FA2D4453FC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885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NFIDENTIAL SLIDE.</a:t>
            </a:r>
          </a:p>
        </p:txBody>
      </p:sp>
      <p:sp>
        <p:nvSpPr>
          <p:cNvPr id="5" name="Parallelogram 4"/>
          <p:cNvSpPr/>
          <p:nvPr userDrawn="1"/>
        </p:nvSpPr>
        <p:spPr>
          <a:xfrm rot="10800000" flipH="1">
            <a:off x="9353004" y="3501"/>
            <a:ext cx="1514367" cy="998836"/>
          </a:xfrm>
          <a:prstGeom prst="parallelogram">
            <a:avLst>
              <a:gd name="adj" fmla="val 100977"/>
            </a:avLst>
          </a:prstGeom>
          <a:solidFill>
            <a:schemeClr val="accent4"/>
          </a:solidFill>
          <a:ln>
            <a:noFill/>
          </a:ln>
          <a:effectLst>
            <a:outerShdw blurRad="381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 rot="2653766">
            <a:off x="9346483" y="320608"/>
            <a:ext cx="1546873" cy="3552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NFIDENTIAL</a:t>
            </a:r>
          </a:p>
        </p:txBody>
      </p:sp>
      <p:sp>
        <p:nvSpPr>
          <p:cNvPr id="6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65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65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EDA336D7-3FB4-4A6A-9BA5-C8918FC89344}" type="datetime2">
              <a:rPr lang="en-US" smtClean="0"/>
              <a:t>Sunday, October 19, 2025</a:t>
            </a:fld>
            <a:endParaRPr lang="en-US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06505254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. Strategy Slide Executiv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DC98AC7D-41B1-4045-9CA8-8517755F5A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70698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DC98AC7D-41B1-4045-9CA8-8517755F5A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DD66F303-136E-4BA9-A511-851CF4B7E5A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04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EXECUTIVE SUMMARY SLIDE.</a:t>
            </a:r>
          </a:p>
        </p:txBody>
      </p:sp>
      <p:sp>
        <p:nvSpPr>
          <p:cNvPr id="35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736571" y="1548820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| 01</a:t>
            </a:r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557293" y="1550217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br>
              <a:rPr lang="en-US"/>
            </a:br>
            <a:r>
              <a:rPr lang="en-US"/>
              <a:t>• 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38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36571" y="2462733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| 02</a:t>
            </a:r>
          </a:p>
        </p:txBody>
      </p:sp>
      <p:sp>
        <p:nvSpPr>
          <p:cNvPr id="41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36570" y="3380924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/>
              <a:t>| 03</a:t>
            </a:r>
          </a:p>
        </p:txBody>
      </p:sp>
      <p:sp>
        <p:nvSpPr>
          <p:cNvPr id="44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736570" y="4298839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| 04</a:t>
            </a:r>
          </a:p>
        </p:txBody>
      </p:sp>
      <p:sp>
        <p:nvSpPr>
          <p:cNvPr id="50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736570" y="5184791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| 05</a:t>
            </a:r>
          </a:p>
        </p:txBody>
      </p:sp>
      <p:sp>
        <p:nvSpPr>
          <p:cNvPr id="52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1557293" y="2462733"/>
            <a:ext cx="5284941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br>
              <a:rPr lang="en-US"/>
            </a:br>
            <a:r>
              <a:rPr lang="en-US"/>
              <a:t>• Lea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</a:p>
        </p:txBody>
      </p:sp>
      <p:sp>
        <p:nvSpPr>
          <p:cNvPr id="53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1557293" y="3376282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br>
              <a:rPr lang="en-US"/>
            </a:br>
            <a:r>
              <a:rPr lang="en-US"/>
              <a:t>•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endParaRPr lang="en-US"/>
          </a:p>
        </p:txBody>
      </p:sp>
      <p:sp>
        <p:nvSpPr>
          <p:cNvPr id="54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1557293" y="4297539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br>
              <a:rPr lang="en-US"/>
            </a:br>
            <a:r>
              <a:rPr lang="en-US"/>
              <a:t>•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 </a:t>
            </a:r>
            <a:r>
              <a:rPr lang="en-US" err="1"/>
              <a:t>prompta</a:t>
            </a:r>
            <a:r>
              <a:rPr lang="en-US"/>
              <a:t> qui no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55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1557293" y="5187109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imperdie</a:t>
            </a:r>
            <a:br>
              <a:rPr lang="en-US"/>
            </a:br>
            <a:r>
              <a:rPr lang="en-US"/>
              <a:t>•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</a:p>
        </p:txBody>
      </p:sp>
      <p:sp>
        <p:nvSpPr>
          <p:cNvPr id="5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5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5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0CB8EB3F-64B7-4D6B-8899-ACCCE5991EAA}" type="datetime2">
              <a:rPr lang="en-US" smtClean="0"/>
              <a:t>Sunday, October 19, 2025</a:t>
            </a:fld>
            <a:endParaRPr lang="en-US"/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402833041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5091064"/>
              </p:ext>
            </p:extLst>
          </p:nvPr>
        </p:nvGraphicFramePr>
        <p:xfrm>
          <a:off x="2121" y="1594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73" imgH="473" progId="TCLayout.ActiveDocument.1">
                  <p:embed/>
                </p:oleObj>
              </mc:Choice>
              <mc:Fallback>
                <p:oleObj name="Diapositiva de think-cell" r:id="rId4" imgW="473" imgH="47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1" y="1594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85A802FE-64CC-49B5-BA41-463B2789FDB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D05E536-226C-4ACD-A419-14AC5EC82C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809" y="217464"/>
            <a:ext cx="10512000" cy="435600"/>
          </a:xfrm>
          <a:prstGeom prst="rect">
            <a:avLst/>
          </a:prstGeom>
        </p:spPr>
        <p:txBody>
          <a:bodyPr wrap="square" lIns="0" rIns="0"/>
          <a:lstStyle>
            <a:lvl1pPr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003823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7">
          <p15:clr>
            <a:srgbClr val="FBAE40"/>
          </p15:clr>
        </p15:guide>
        <p15:guide id="2" pos="2880">
          <p15:clr>
            <a:srgbClr val="FBAE40"/>
          </p15:clr>
        </p15:guide>
        <p15:guide id="3" pos="187">
          <p15:clr>
            <a:srgbClr val="FBAE40"/>
          </p15:clr>
        </p15:guide>
        <p15:guide id="4" pos="5573">
          <p15:clr>
            <a:srgbClr val="FBAE40"/>
          </p15:clr>
        </p15:guide>
        <p15:guide id="5" orient="horz" pos="743">
          <p15:clr>
            <a:srgbClr val="FBAE40"/>
          </p15:clr>
        </p15:guide>
        <p15:guide id="6" orient="horz" pos="403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6239903"/>
              </p:ext>
            </p:extLst>
          </p:nvPr>
        </p:nvGraphicFramePr>
        <p:xfrm>
          <a:off x="2131" y="159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92" imgH="504" progId="TCLayout.ActiveDocument.1">
                  <p:embed/>
                </p:oleObj>
              </mc:Choice>
              <mc:Fallback>
                <p:oleObj name="Diapositiva de think-cell" r:id="rId4" imgW="492" imgH="504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31" y="1595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>
            <a:extLst>
              <a:ext uri="{FF2B5EF4-FFF2-40B4-BE49-F238E27FC236}">
                <a16:creationId xmlns:a16="http://schemas.microsoft.com/office/drawing/2014/main" id="{2A263A6D-4296-4D88-9EEA-CBD9F29E642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Rectángulo 1"/>
          <p:cNvSpPr/>
          <p:nvPr userDrawn="1"/>
        </p:nvSpPr>
        <p:spPr>
          <a:xfrm>
            <a:off x="10880787" y="163902"/>
            <a:ext cx="1150188" cy="9230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915160" y="6602596"/>
            <a:ext cx="2844800" cy="248530"/>
          </a:xfrm>
          <a:prstGeom prst="rect">
            <a:avLst/>
          </a:prstGeom>
        </p:spPr>
        <p:txBody>
          <a:bodyPr vert="horz" lIns="91440" tIns="45720" rIns="0" bIns="45720" rtlCol="0" anchor="ctr">
            <a:spAutoFit/>
          </a:bodyPr>
          <a:lstStyle>
            <a:lvl1pPr algn="r">
              <a:defRPr sz="1015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286109" y="270232"/>
            <a:ext cx="10515600" cy="402626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+mj-lt"/>
              </a:defRPr>
            </a:lvl1pPr>
          </a:lstStyle>
          <a:p>
            <a:r>
              <a:rPr lang="en-US"/>
              <a:t>Haga clic para modificar el estilo de título del patrón</a:t>
            </a:r>
          </a:p>
        </p:txBody>
      </p:sp>
      <p:pic>
        <p:nvPicPr>
          <p:cNvPr id="5" name="Picture 33" descr="Image result for vtr logo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097645" y="189599"/>
            <a:ext cx="801123" cy="49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835137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Strategy Slide - Intro Para, Bullets, 4 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F2899EAE-A1EF-4708-8F2F-C63ED0412F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16225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F2899EAE-A1EF-4708-8F2F-C63ED0412F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03FE2C61-42A3-4EB6-A0AF-222167CA676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NTRO PARAGRAPH WITH BULLET POINTS AND 4 X PICTURES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1" y="15525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26231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37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9804400" y="15525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38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7550151" y="37623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39" name="Picture Placeholder 8"/>
          <p:cNvSpPr>
            <a:spLocks noGrp="1"/>
          </p:cNvSpPr>
          <p:nvPr>
            <p:ph type="pic" sz="quarter" idx="15" hasCustomPrompt="1"/>
          </p:nvPr>
        </p:nvSpPr>
        <p:spPr>
          <a:xfrm>
            <a:off x="9804400" y="37623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40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41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42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C67CB4AF-90BF-432B-AE7E-BF2637A8162A}" type="datetime2">
              <a:rPr lang="en-US" smtClean="0"/>
              <a:t>Sunday, October 19, 2025</a:t>
            </a:fld>
            <a:endParaRPr lang="en-US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73979726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ront Cover Slide - Fibre Optic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group of people posing for the camera&#10;&#10;Description automatically generated">
            <a:extLst>
              <a:ext uri="{FF2B5EF4-FFF2-40B4-BE49-F238E27FC236}">
                <a16:creationId xmlns:a16="http://schemas.microsoft.com/office/drawing/2014/main" id="{23685639-7271-BD48-B67A-49D8BB4200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6" t="13118" r="80" b="28873"/>
          <a:stretch/>
        </p:blipFill>
        <p:spPr>
          <a:xfrm>
            <a:off x="-2892" y="0"/>
            <a:ext cx="12204831" cy="4724418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 rotWithShape="1">
          <a:blip r:embed="rId3">
            <a:alphaModFix amt="3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35" r="55556"/>
          <a:stretch/>
        </p:blipFill>
        <p:spPr>
          <a:xfrm>
            <a:off x="9819861" y="0"/>
            <a:ext cx="2372139" cy="4802775"/>
          </a:xfrm>
          <a:prstGeom prst="rect">
            <a:avLst/>
          </a:prstGeom>
          <a:effectLst/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402383"/>
            <a:ext cx="2743200" cy="271225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F47BFBC2-D8BC-8A4E-B07D-C5EC72FEF2B2}" type="datetime2">
              <a:rPr lang="en-GB" smtClean="0"/>
              <a:pPr/>
              <a:t>Sunday, 19 October 2025</a:t>
            </a:fld>
            <a:endParaRPr lang="en-US"/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5143500"/>
            <a:ext cx="9939866" cy="529167"/>
          </a:xfrm>
          <a:prstGeom prst="rect">
            <a:avLst/>
          </a:prstGeom>
        </p:spPr>
        <p:txBody>
          <a:bodyPr lIns="0" tIns="0" rIns="0" bIns="0"/>
          <a:lstStyle>
            <a:lvl1pPr>
              <a:defRPr baseline="0"/>
            </a:lvl1pPr>
          </a:lstStyle>
          <a:p>
            <a:r>
              <a:rPr lang="en-US" dirty="0"/>
              <a:t>FRONT COVER SLIDE | UPPERCASE ONLY | 32P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5742569"/>
            <a:ext cx="9939867" cy="345184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aseline="0"/>
            </a:lvl1pPr>
          </a:lstStyle>
          <a:p>
            <a:pPr lvl="0"/>
            <a:r>
              <a:rPr lang="en-US" dirty="0"/>
              <a:t>FRONT COVER SUB HEADING | UPPERCASE ONLY | 18PT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6AD402A-4E56-7342-B542-96A77E310708}"/>
              </a:ext>
            </a:extLst>
          </p:cNvPr>
          <p:cNvSpPr/>
          <p:nvPr userDrawn="1"/>
        </p:nvSpPr>
        <p:spPr>
          <a:xfrm>
            <a:off x="1" y="4736417"/>
            <a:ext cx="12191999" cy="282699"/>
          </a:xfrm>
          <a:prstGeom prst="rect">
            <a:avLst/>
          </a:prstGeom>
          <a:solidFill>
            <a:srgbClr val="3D38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319D04B9-5608-6F46-8709-8467B4517936}"/>
              </a:ext>
            </a:extLst>
          </p:cNvPr>
          <p:cNvCxnSpPr/>
          <p:nvPr userDrawn="1"/>
        </p:nvCxnSpPr>
        <p:spPr>
          <a:xfrm>
            <a:off x="0" y="4722327"/>
            <a:ext cx="12192000" cy="0"/>
          </a:xfrm>
          <a:prstGeom prst="line">
            <a:avLst/>
          </a:prstGeom>
          <a:ln w="38100">
            <a:solidFill>
              <a:srgbClr val="FF410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5472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. HR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1999" cy="4733453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2">
                  <a:lumMod val="50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402383"/>
            <a:ext cx="2743200" cy="271225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F47BFBC2-D8BC-8A4E-B07D-C5EC72FEF2B2}" type="datetime2">
              <a:rPr lang="en-GB" smtClean="0"/>
              <a:pPr/>
              <a:t>Sunday, 19 October 2025</a:t>
            </a:fld>
            <a:endParaRPr lang="en-US"/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5143500"/>
            <a:ext cx="9939866" cy="529167"/>
          </a:xfrm>
          <a:prstGeom prst="rect">
            <a:avLst/>
          </a:prstGeom>
        </p:spPr>
        <p:txBody>
          <a:bodyPr lIns="0" tIns="0" rIns="0" bIns="0"/>
          <a:lstStyle>
            <a:lvl1pPr>
              <a:defRPr baseline="0"/>
            </a:lvl1pPr>
          </a:lstStyle>
          <a:p>
            <a:r>
              <a:rPr lang="en-US" dirty="0"/>
              <a:t>HR DIVIDER | UPPERCASE ONLY | 32P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5742569"/>
            <a:ext cx="9939867" cy="345184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aseline="0"/>
            </a:lvl1pPr>
          </a:lstStyle>
          <a:p>
            <a:pPr lvl="0"/>
            <a:r>
              <a:rPr lang="en-US" dirty="0"/>
              <a:t>HR DIVIDER SUB HEADING | UPPERCASE ONLY | 18PT</a:t>
            </a:r>
          </a:p>
        </p:txBody>
      </p:sp>
      <p:pic>
        <p:nvPicPr>
          <p:cNvPr id="76" name="Picture 75"/>
          <p:cNvPicPr>
            <a:picLocks noChangeAspect="1"/>
          </p:cNvPicPr>
          <p:nvPr userDrawn="1"/>
        </p:nvPicPr>
        <p:blipFill rotWithShape="1">
          <a:blip r:embed="rId2">
            <a:alphaModFix amt="3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35" r="55556"/>
          <a:stretch/>
        </p:blipFill>
        <p:spPr>
          <a:xfrm>
            <a:off x="9819861" y="0"/>
            <a:ext cx="2372139" cy="4802775"/>
          </a:xfrm>
          <a:prstGeom prst="rect">
            <a:avLst/>
          </a:prstGeom>
          <a:effectLst/>
        </p:spPr>
      </p:pic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E9CDC156-4F97-C54B-AFE5-83D7FF28D679}"/>
              </a:ext>
            </a:extLst>
          </p:cNvPr>
          <p:cNvCxnSpPr/>
          <p:nvPr userDrawn="1"/>
        </p:nvCxnSpPr>
        <p:spPr>
          <a:xfrm>
            <a:off x="0" y="4722327"/>
            <a:ext cx="12192000" cy="0"/>
          </a:xfrm>
          <a:prstGeom prst="line">
            <a:avLst/>
          </a:prstGeom>
          <a:ln w="38100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tangle 93"/>
          <p:cNvSpPr/>
          <p:nvPr userDrawn="1"/>
        </p:nvSpPr>
        <p:spPr>
          <a:xfrm>
            <a:off x="0" y="4730154"/>
            <a:ext cx="12191999" cy="2826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794977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. LLA Slide - 3 Tabl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TABLE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315F80CF-B076-F04C-8770-B8A09243D5BC}" type="datetime2">
              <a:rPr lang="en-GB" sz="800" smtClean="0"/>
              <a:t>Sunday, 19 October 2025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37923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8046319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8" name="Table Placeholder 5"/>
          <p:cNvSpPr>
            <a:spLocks noGrp="1"/>
          </p:cNvSpPr>
          <p:nvPr>
            <p:ph type="tbl" sz="quarter" idx="21" hasCustomPrompt="1"/>
          </p:nvPr>
        </p:nvSpPr>
        <p:spPr>
          <a:xfrm>
            <a:off x="725213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9" name="Table Placeholder 5"/>
          <p:cNvSpPr>
            <a:spLocks noGrp="1"/>
          </p:cNvSpPr>
          <p:nvPr>
            <p:ph type="tbl" sz="quarter" idx="22" hasCustomPrompt="1"/>
          </p:nvPr>
        </p:nvSpPr>
        <p:spPr>
          <a:xfrm>
            <a:off x="4379232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0" name="Table Placeholder 5"/>
          <p:cNvSpPr>
            <a:spLocks noGrp="1"/>
          </p:cNvSpPr>
          <p:nvPr>
            <p:ph type="tbl" sz="quarter" idx="23" hasCustomPrompt="1"/>
          </p:nvPr>
        </p:nvSpPr>
        <p:spPr>
          <a:xfrm>
            <a:off x="8033882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bg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89454247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. Legal Slide - 2 Charts and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dirty="0"/>
              <a:t>CLICK TO EDIT HEADING TEXT. UPPERCASE ONLY. 24PT</a:t>
            </a:r>
            <a:br>
              <a:rPr lang="en-US" dirty="0"/>
            </a:br>
            <a:r>
              <a:rPr lang="en-US" dirty="0"/>
              <a:t>TWO GRAPHS/CHARTS AND TEXT</a:t>
            </a:r>
          </a:p>
        </p:txBody>
      </p:sp>
      <p:sp>
        <p:nvSpPr>
          <p:cNvPr id="3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 dirty="0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3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3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315F80CF-B076-F04C-8770-B8A09243D5BC}" type="datetime2">
              <a:rPr lang="en-GB" sz="800" smtClean="0"/>
              <a:t>Sunday, 19 October 2025</a:t>
            </a:fld>
            <a:r>
              <a:rPr lang="en-GB" sz="800"/>
              <a:t>  </a:t>
            </a:r>
            <a:r>
              <a:rPr lang="en-GB" sz="800" dirty="0"/>
              <a:t>|</a:t>
            </a:r>
            <a:endParaRPr lang="en-US" dirty="0"/>
          </a:p>
        </p:txBody>
      </p:sp>
      <p:sp>
        <p:nvSpPr>
          <p:cNvPr id="36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4" y="1876657"/>
            <a:ext cx="5116786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CHART</a:t>
            </a: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endParaRPr lang="en-US" dirty="0"/>
          </a:p>
          <a:p>
            <a:pPr lvl="0"/>
            <a:r>
              <a:rPr lang="en-US" dirty="0"/>
              <a:t>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qui no. </a:t>
            </a:r>
          </a:p>
          <a:p>
            <a:pPr lvl="0"/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</a:p>
          <a:p>
            <a:pPr lvl="0"/>
            <a:r>
              <a:rPr lang="en-US" dirty="0" err="1"/>
              <a:t>Aelicata</a:t>
            </a:r>
            <a:r>
              <a:rPr lang="en-US" dirty="0"/>
              <a:t> cu. No cum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endParaRPr lang="en-US" dirty="0"/>
          </a:p>
          <a:p>
            <a:pPr lvl="0"/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endParaRPr lang="en-US" dirty="0"/>
          </a:p>
          <a:p>
            <a:pPr lvl="0"/>
            <a:r>
              <a:rPr lang="en-US" dirty="0"/>
              <a:t>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qui no. </a:t>
            </a:r>
          </a:p>
          <a:p>
            <a:pPr lvl="0"/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</a:p>
          <a:p>
            <a:pPr lvl="0"/>
            <a:r>
              <a:rPr lang="en-US" dirty="0" err="1"/>
              <a:t>Aelicata</a:t>
            </a:r>
            <a:r>
              <a:rPr lang="en-US" dirty="0"/>
              <a:t> cu. No cum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 dirty="0"/>
              <a:t>GRAPH HEADING. UPPERCASE ONLY. GREY. 12PT</a:t>
            </a:r>
          </a:p>
        </p:txBody>
      </p:sp>
      <p:sp>
        <p:nvSpPr>
          <p:cNvPr id="45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6198550" y="1876657"/>
            <a:ext cx="5116786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CHART</a:t>
            </a:r>
          </a:p>
        </p:txBody>
      </p:sp>
      <p:sp>
        <p:nvSpPr>
          <p:cNvPr id="4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198549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endParaRPr lang="en-US" dirty="0"/>
          </a:p>
          <a:p>
            <a:pPr lvl="0"/>
            <a:r>
              <a:rPr lang="en-US" dirty="0"/>
              <a:t>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qui no. </a:t>
            </a:r>
          </a:p>
          <a:p>
            <a:pPr lvl="0"/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</a:p>
          <a:p>
            <a:pPr lvl="0"/>
            <a:r>
              <a:rPr lang="en-US" dirty="0" err="1"/>
              <a:t>Aelicata</a:t>
            </a:r>
            <a:r>
              <a:rPr lang="en-US" dirty="0"/>
              <a:t> cu. No cum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endParaRPr lang="en-US" dirty="0"/>
          </a:p>
          <a:p>
            <a:pPr lvl="0"/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endParaRPr lang="en-US" dirty="0"/>
          </a:p>
          <a:p>
            <a:pPr lvl="0"/>
            <a:r>
              <a:rPr lang="en-US" dirty="0"/>
              <a:t>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qui no. </a:t>
            </a:r>
          </a:p>
          <a:p>
            <a:pPr lvl="0"/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</a:p>
          <a:p>
            <a:pPr lvl="0"/>
            <a:r>
              <a:rPr lang="en-US" dirty="0" err="1"/>
              <a:t>Aelicata</a:t>
            </a:r>
            <a:r>
              <a:rPr lang="en-US" dirty="0"/>
              <a:t> cu. No cum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198550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 dirty="0"/>
              <a:t>GRAPH HEADING. UPPERCASE ONLY. GREY. 12PT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76077391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708EA8D-0558-F8F7-8CA9-2A3BF7D7F6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D3E9902B-8379-AAA7-F1B2-27DE6CF1D0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FFA751DF-AD1D-7769-0046-0319F34190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18E9430C-4F76-4207-441A-7477697887E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AEE4063D-BE31-551B-A82E-2FDBC096B3F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8671E244-8665-C342-8638-9BA2BE177E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63DD0-DA40-4E4D-8FF7-594286DF9494}" type="datetimeFigureOut">
              <a:rPr lang="es-CO" smtClean="0"/>
              <a:t>19/10/2025</a:t>
            </a:fld>
            <a:endParaRPr lang="es-CO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951FED2D-6538-CFEF-128B-EA53E50F2B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3D8A0D89-CD08-FE6C-09C1-5D3EF18408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C3047C-4ACA-4849-B6A1-3CB4DB4D4D94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24894550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40235690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Iss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 bwMode="gray">
          <a:xfrm>
            <a:off x="460374" y="1325563"/>
            <a:ext cx="11420475" cy="4554537"/>
          </a:xfrm>
        </p:spPr>
        <p:txBody>
          <a:bodyPr/>
          <a:lstStyle>
            <a:lvl1pPr marL="411480" indent="-411480">
              <a:buFont typeface="+mj-lt"/>
              <a:buAutoNum type="arabicPeriod"/>
              <a:defRPr/>
            </a:lvl1pPr>
            <a:lvl2pPr marL="777240">
              <a:defRPr/>
            </a:lvl2pPr>
            <a:lvl3pPr marL="1051560">
              <a:defRPr/>
            </a:lvl3pPr>
            <a:lvl4pPr marL="1371600">
              <a:defRPr/>
            </a:lvl4pPr>
            <a:lvl5pPr marL="164592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6621513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Issues -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 bwMode="gray">
          <a:xfrm>
            <a:off x="460374" y="1325563"/>
            <a:ext cx="11420475" cy="4554537"/>
          </a:xfrm>
        </p:spPr>
        <p:txBody>
          <a:bodyPr/>
          <a:lstStyle>
            <a:lvl1pPr marL="411480" indent="-411480">
              <a:buClrTx/>
              <a:buFont typeface="+mj-lt"/>
              <a:buAutoNum type="arabicPeriod"/>
              <a:defRPr>
                <a:solidFill>
                  <a:srgbClr val="919191"/>
                </a:solidFill>
              </a:defRPr>
            </a:lvl1pPr>
            <a:lvl2pPr marL="777240">
              <a:buClrTx/>
              <a:defRPr>
                <a:solidFill>
                  <a:srgbClr val="919191"/>
                </a:solidFill>
              </a:defRPr>
            </a:lvl2pPr>
            <a:lvl3pPr marL="1051560">
              <a:buClrTx/>
              <a:defRPr>
                <a:solidFill>
                  <a:srgbClr val="919191"/>
                </a:solidFill>
              </a:defRPr>
            </a:lvl3pPr>
            <a:lvl4pPr marL="1371600">
              <a:buClrTx/>
              <a:defRPr>
                <a:solidFill>
                  <a:srgbClr val="919191"/>
                </a:solidFill>
              </a:defRPr>
            </a:lvl4pPr>
            <a:lvl5pPr marL="1645920">
              <a:buClrTx/>
              <a:defRPr>
                <a:solidFill>
                  <a:srgbClr val="91919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2778559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 bwMode="gray">
          <a:xfrm>
            <a:off x="304800" y="1325563"/>
            <a:ext cx="5670550" cy="45545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 bwMode="gray">
          <a:xfrm>
            <a:off x="6218238" y="1325563"/>
            <a:ext cx="5662612" cy="45545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3202175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A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60"/>
          <p:cNvSpPr>
            <a:spLocks noChangeArrowheads="1"/>
          </p:cNvSpPr>
          <p:nvPr userDrawn="1"/>
        </p:nvSpPr>
        <p:spPr bwMode="gray">
          <a:xfrm>
            <a:off x="0" y="7"/>
            <a:ext cx="12192000" cy="5880093"/>
          </a:xfrm>
          <a:prstGeom prst="rect">
            <a:avLst/>
          </a:prstGeom>
          <a:solidFill>
            <a:srgbClr val="00529B"/>
          </a:solidFill>
          <a:ln w="9525" algn="ctr">
            <a:noFill/>
            <a:miter lim="800000"/>
            <a:headEnd type="none" w="sm" len="sm"/>
            <a:tailEnd type="none" w="sm" len="sm"/>
          </a:ln>
        </p:spPr>
        <p:txBody>
          <a:bodyPr wrap="none" anchor="t" anchorCtr="0"/>
          <a:lstStyle/>
          <a:p>
            <a:pPr algn="l" eaLnBrk="1" fontAlgn="auto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tabLst>
                <a:tab pos="230177" algn="l"/>
              </a:tabLst>
            </a:pPr>
            <a:endParaRPr lang="en-US" sz="1051" kern="0">
              <a:solidFill>
                <a:srgbClr val="FFFFFF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 bwMode="gray">
          <a:xfrm>
            <a:off x="304800" y="1325563"/>
            <a:ext cx="11576050" cy="4554537"/>
          </a:xfrm>
        </p:spPr>
        <p:txBody>
          <a:bodyPr/>
          <a:lstStyle>
            <a:lvl1pPr marL="0" indent="0">
              <a:buClr>
                <a:schemeClr val="bg1"/>
              </a:buClr>
              <a:buNone/>
              <a:defRPr>
                <a:solidFill>
                  <a:schemeClr val="bg1"/>
                </a:solidFill>
              </a:defRPr>
            </a:lvl1pPr>
            <a:lvl2pPr marL="274320" indent="-274320">
              <a:buClr>
                <a:schemeClr val="bg1"/>
              </a:buClr>
              <a:buFont typeface="Wingdings" panose="05000000000000000000" pitchFamily="2" charset="2"/>
              <a:buChar char="§"/>
              <a:defRPr sz="2400">
                <a:solidFill>
                  <a:schemeClr val="bg1"/>
                </a:solidFill>
              </a:defRPr>
            </a:lvl2pPr>
            <a:lvl3pPr marL="594360" indent="-274320">
              <a:buClr>
                <a:schemeClr val="bg1"/>
              </a:buClr>
              <a:buFont typeface="Arial" panose="020B0604020202020204" pitchFamily="34" charset="0"/>
              <a:buChar char="–"/>
              <a:defRPr sz="2200">
                <a:solidFill>
                  <a:schemeClr val="bg1"/>
                </a:solidFill>
              </a:defRPr>
            </a:lvl3pPr>
            <a:lvl4pPr marL="914400" indent="-274320"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4pPr>
            <a:lvl5pPr marL="1234440" indent="-274320">
              <a:buClr>
                <a:schemeClr val="bg1"/>
              </a:buClr>
              <a:buFont typeface="Arial" panose="020B0604020202020204" pitchFamily="34" charset="0"/>
              <a:buChar char="–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5586540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 Strategy Slide - Large Bol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6A3F2D9-FAC1-4D18-8C97-DBDC768D02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32373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6A3F2D9-FAC1-4D18-8C97-DBDC768D02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95A114C1-F623-4826-A9AE-014E3B65CF2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050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LARGE BOLD TEXT FOR CREATIVE INTEREST.</a:t>
            </a:r>
          </a:p>
        </p:txBody>
      </p:sp>
      <p:sp>
        <p:nvSpPr>
          <p:cNvPr id="44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799" y="1698045"/>
            <a:ext cx="10348785" cy="43800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4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4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4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CC2952C7-C1DB-484D-A9ED-01AA716B942B}" type="datetime2">
              <a:rPr lang="en-US" smtClean="0"/>
              <a:t>Sunday, October 19, 2025</a:t>
            </a:fld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71080163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A B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7"/>
          </p:nvPr>
        </p:nvSpPr>
        <p:spPr bwMode="gray">
          <a:xfrm>
            <a:off x="304800" y="945753"/>
            <a:ext cx="11576050" cy="1029537"/>
          </a:xfrm>
          <a:solidFill>
            <a:srgbClr val="00529B"/>
          </a:solidFill>
        </p:spPr>
        <p:txBody>
          <a:bodyPr lIns="0" tIns="0" rIns="91440" bIns="0" anchor="ctr" anchorCtr="0">
            <a:noAutofit/>
          </a:bodyPr>
          <a:lstStyle>
            <a:lvl1pPr marL="146304" indent="0">
              <a:lnSpc>
                <a:spcPct val="90000"/>
              </a:lnSpc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 bwMode="gray">
          <a:xfrm>
            <a:off x="317500" y="2111375"/>
            <a:ext cx="5657850" cy="3768725"/>
          </a:xfrm>
        </p:spPr>
        <p:txBody>
          <a:bodyPr/>
          <a:lstStyle>
            <a:lvl1pPr marL="0" indent="0">
              <a:buFontTx/>
              <a:buNone/>
              <a:defRPr sz="2400" b="1"/>
            </a:lvl1pPr>
            <a:lvl2pPr marL="274320" indent="-274320">
              <a:buClr>
                <a:srgbClr val="00529B"/>
              </a:buClr>
              <a:buFont typeface="Wingdings" panose="05000000000000000000" pitchFamily="2" charset="2"/>
              <a:buChar char="§"/>
              <a:defRPr sz="2400"/>
            </a:lvl2pPr>
            <a:lvl3pPr marL="594360" indent="-274320">
              <a:buFont typeface="Arial" panose="020B0604020202020204" pitchFamily="34" charset="0"/>
              <a:buChar char="–"/>
              <a:defRPr sz="2200"/>
            </a:lvl3pPr>
            <a:lvl4pPr marL="868680" indent="-274320">
              <a:buFont typeface="Wingdings" panose="05000000000000000000" pitchFamily="2" charset="2"/>
              <a:buChar char="§"/>
              <a:defRPr sz="2000"/>
            </a:lvl4pPr>
            <a:lvl5pPr marL="1188720" indent="-274320">
              <a:buFont typeface="Arial" panose="020B0604020202020204" pitchFamily="34" charset="0"/>
              <a:buChar char="–"/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/>
          </p:nvPr>
        </p:nvSpPr>
        <p:spPr bwMode="gray">
          <a:xfrm>
            <a:off x="6218238" y="2111375"/>
            <a:ext cx="5662612" cy="3768725"/>
          </a:xfrm>
        </p:spPr>
        <p:txBody>
          <a:bodyPr/>
          <a:lstStyle>
            <a:lvl1pPr marL="0" indent="0">
              <a:buNone/>
              <a:defRPr sz="2400" b="1"/>
            </a:lvl1pPr>
            <a:lvl2pPr marL="274320" indent="-274320">
              <a:buClr>
                <a:srgbClr val="00529B"/>
              </a:buClr>
              <a:buFont typeface="Wingdings" panose="05000000000000000000" pitchFamily="2" charset="2"/>
              <a:buChar char="§"/>
              <a:defRPr sz="2400"/>
            </a:lvl2pPr>
            <a:lvl3pPr marL="594360" indent="-274320">
              <a:buFont typeface="Arial" panose="020B0604020202020204" pitchFamily="34" charset="0"/>
              <a:buChar char="–"/>
              <a:defRPr sz="2200"/>
            </a:lvl3pPr>
            <a:lvl4pPr marL="868680" indent="-274320">
              <a:buFont typeface="Wingdings" panose="05000000000000000000" pitchFamily="2" charset="2"/>
              <a:buChar char="§"/>
              <a:defRPr sz="2000"/>
            </a:lvl4pPr>
            <a:lvl5pPr marL="1188720" indent="-274320">
              <a:buFont typeface="Arial" panose="020B0604020202020204" pitchFamily="34" charset="0"/>
              <a:buChar char="–"/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2066725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1330">
          <p15:clr>
            <a:srgbClr val="5ACBF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commenda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 bwMode="gray">
          <a:xfrm>
            <a:off x="304800" y="1325564"/>
            <a:ext cx="11576049" cy="4554536"/>
          </a:xfrm>
        </p:spPr>
        <p:txBody>
          <a:bodyPr/>
          <a:lstStyle>
            <a:lvl1pPr marL="411163" indent="-411163">
              <a:buClr>
                <a:schemeClr val="accent6"/>
              </a:buClr>
              <a:buFont typeface="Wingdings" panose="05000000000000000000" pitchFamily="2" charset="2"/>
              <a:buChar char="ü"/>
              <a:defRPr/>
            </a:lvl1pPr>
            <a:lvl2pPr marL="777240" indent="-274320">
              <a:buClr>
                <a:schemeClr val="accent6"/>
              </a:buClr>
              <a:defRPr/>
            </a:lvl2pPr>
            <a:lvl3pPr marL="1051560" indent="-273037">
              <a:buClr>
                <a:schemeClr val="accent6"/>
              </a:buClr>
              <a:buFont typeface="Wingdings" panose="05000000000000000000" pitchFamily="2" charset="2"/>
              <a:buChar char="§"/>
              <a:defRPr/>
            </a:lvl3pPr>
            <a:lvl4pPr marL="1371600" indent="-274320">
              <a:buClr>
                <a:schemeClr val="accent6"/>
              </a:buClr>
              <a:buFont typeface="Arial" panose="020B0604020202020204" pitchFamily="34" charset="0"/>
              <a:buChar char="–"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3122683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on Pl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 bwMode="gray">
          <a:xfrm>
            <a:off x="304800" y="1325563"/>
            <a:ext cx="11576050" cy="4554537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b="1"/>
            </a:lvl1pPr>
            <a:lvl2pPr marL="548640" indent="-274320">
              <a:lnSpc>
                <a:spcPct val="90000"/>
              </a:lnSpc>
              <a:buClr>
                <a:srgbClr val="00529B"/>
              </a:buClr>
              <a:buFont typeface="Wingdings" panose="05000000000000000000" pitchFamily="2" charset="2"/>
              <a:buChar char="§"/>
              <a:defRPr/>
            </a:lvl2pPr>
            <a:lvl3pPr marL="868680" indent="-274320">
              <a:lnSpc>
                <a:spcPct val="90000"/>
              </a:lnSpc>
              <a:buFont typeface="Arial" panose="020B0604020202020204" pitchFamily="34" charset="0"/>
              <a:buChar char="–"/>
              <a:defRPr/>
            </a:lvl3pPr>
            <a:lvl4pPr marL="1143000" indent="-274320">
              <a:lnSpc>
                <a:spcPct val="90000"/>
              </a:lnSpc>
              <a:buFont typeface="Wingdings" panose="05000000000000000000" pitchFamily="2" charset="2"/>
              <a:buChar char="§"/>
              <a:defRPr/>
            </a:lvl4pPr>
            <a:lvl5pPr marL="1463040" indent="-274320">
              <a:lnSpc>
                <a:spcPct val="90000"/>
              </a:lnSpc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1511766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commended Resear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 bwMode="gray">
          <a:xfrm>
            <a:off x="304800" y="1325563"/>
            <a:ext cx="11576050" cy="4554537"/>
          </a:xfrm>
        </p:spPr>
        <p:txBody>
          <a:bodyPr/>
          <a:lstStyle>
            <a:lvl1pPr marL="365760" indent="-365760">
              <a:spcBef>
                <a:spcPts val="300"/>
              </a:spcBef>
              <a:buSzPct val="80000"/>
              <a:buFont typeface="Wingdings 3" panose="05040102010807070707" pitchFamily="18" charset="2"/>
              <a:buChar char="u"/>
              <a:defRPr b="1"/>
            </a:lvl1pPr>
            <a:lvl2pPr marL="731520">
              <a:spcBef>
                <a:spcPts val="300"/>
              </a:spcBef>
              <a:defRPr/>
            </a:lvl2pPr>
            <a:lvl3pPr marL="1005840">
              <a:spcBef>
                <a:spcPts val="300"/>
              </a:spcBef>
              <a:defRPr/>
            </a:lvl3pPr>
            <a:lvl4pPr marL="1325880">
              <a:spcBef>
                <a:spcPts val="300"/>
              </a:spcBef>
              <a:defRPr/>
            </a:lvl4pPr>
            <a:lvl5pPr marL="1600200">
              <a:spcBef>
                <a:spcPts val="3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7663227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54704571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 w TT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304800" y="228600"/>
            <a:ext cx="11576050" cy="535531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51830350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rt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304801" y="1325564"/>
            <a:ext cx="7666038" cy="455453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304800" y="228600"/>
            <a:ext cx="7667625" cy="53553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3727660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5022">
          <p15:clr>
            <a:srgbClr val="5ACBF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304801" y="1325564"/>
            <a:ext cx="5670549" cy="455453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304801" y="228600"/>
            <a:ext cx="5670550" cy="53553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05444778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on It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 bwMode="gray">
          <a:xfrm>
            <a:off x="304800" y="4250578"/>
            <a:ext cx="11576050" cy="1629522"/>
          </a:xfrm>
          <a:prstGeom prst="rect">
            <a:avLst/>
          </a:prstGeom>
          <a:solidFill>
            <a:srgbClr val="00529B"/>
          </a:solidFill>
        </p:spPr>
        <p:txBody>
          <a:bodyPr lIns="146304" tIns="182880" rIns="91440" bIns="182880" anchor="ctr" anchorCtr="0"/>
          <a:lstStyle>
            <a:lvl1pPr marL="0" indent="0">
              <a:lnSpc>
                <a:spcPct val="90000"/>
              </a:lnSpc>
              <a:buNone/>
              <a:defRPr>
                <a:solidFill>
                  <a:schemeClr val="bg1"/>
                </a:solidFill>
              </a:defRPr>
            </a:lvl1pPr>
            <a:lvl2pPr marL="318436" indent="0">
              <a:buNone/>
              <a:defRPr>
                <a:solidFill>
                  <a:schemeClr val="bg1"/>
                </a:solidFill>
              </a:defRPr>
            </a:lvl2pPr>
            <a:lvl3pPr marL="683650" indent="0">
              <a:buNone/>
              <a:defRPr>
                <a:solidFill>
                  <a:schemeClr val="bg1"/>
                </a:solidFill>
              </a:defRPr>
            </a:lvl3pPr>
            <a:lvl4pPr marL="957955" indent="0">
              <a:buNone/>
              <a:defRPr>
                <a:solidFill>
                  <a:schemeClr val="bg1"/>
                </a:solidFill>
              </a:defRPr>
            </a:lvl4pPr>
            <a:lvl5pPr marL="123226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 bwMode="gray">
          <a:xfrm>
            <a:off x="304800" y="1325563"/>
            <a:ext cx="11576050" cy="29250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6895486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7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on Item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1"/>
          <p:cNvSpPr>
            <a:spLocks noGrp="1"/>
          </p:cNvSpPr>
          <p:nvPr>
            <p:ph type="body" sz="quarter" idx="12"/>
          </p:nvPr>
        </p:nvSpPr>
        <p:spPr bwMode="gray">
          <a:xfrm>
            <a:off x="7988301" y="307975"/>
            <a:ext cx="3892549" cy="5572125"/>
          </a:xfrm>
          <a:prstGeom prst="rect">
            <a:avLst/>
          </a:prstGeom>
          <a:solidFill>
            <a:srgbClr val="00529B"/>
          </a:solidFill>
        </p:spPr>
        <p:txBody>
          <a:bodyPr lIns="228600" tIns="137160" rIns="182880" bIns="91440"/>
          <a:lstStyle>
            <a:lvl1pPr marL="0" indent="0">
              <a:buClr>
                <a:schemeClr val="bg1"/>
              </a:buClr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74320" indent="-274320"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2pPr>
            <a:lvl3pPr marL="640080" indent="-274320">
              <a:buClr>
                <a:schemeClr val="bg1"/>
              </a:buClr>
              <a:buFont typeface="Arial" panose="020B0604020202020204" pitchFamily="34" charset="0"/>
              <a:buChar char="–"/>
              <a:defRPr>
                <a:solidFill>
                  <a:schemeClr val="bg1"/>
                </a:solidFill>
              </a:defRPr>
            </a:lvl3pPr>
            <a:lvl4pPr marL="914400" indent="-274320"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4pPr>
            <a:lvl5pPr marL="1234440" indent="-274320">
              <a:buClr>
                <a:schemeClr val="bg1"/>
              </a:buClr>
              <a:buFont typeface="Arial" panose="020B0604020202020204" pitchFamily="34" charset="0"/>
              <a:buChar char="–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04801" y="1325564"/>
            <a:ext cx="7666038" cy="455453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auto">
          <a:xfrm>
            <a:off x="304800" y="228600"/>
            <a:ext cx="7648575" cy="53553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0178554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 Strategy Slide - Large Bold 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C7B8557E-3425-4C56-B007-F68EA4279B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96680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C7B8557E-3425-4C56-B007-F68EA4279B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EFCF03AE-A1B8-4191-A665-925EA962FBA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86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LARGE BOLD TEXT WITH PICTURE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75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799" y="1698045"/>
            <a:ext cx="6444347" cy="32050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s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</a:t>
            </a:r>
          </a:p>
        </p:txBody>
      </p:sp>
      <p:sp>
        <p:nvSpPr>
          <p:cNvPr id="7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7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75E5A679-65AF-46E8-997D-E3A26DFB4586}" type="datetime2">
              <a:rPr lang="en-US" smtClean="0"/>
              <a:t>Sunday, October 19, 2025</a:t>
            </a:fld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28604837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8696860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Thirds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04801" y="307975"/>
            <a:ext cx="3767138" cy="5572125"/>
          </a:xfrm>
          <a:solidFill>
            <a:srgbClr val="00529B"/>
          </a:solidFill>
        </p:spPr>
        <p:txBody>
          <a:bodyPr anchor="ctr" anchorCtr="0"/>
          <a:lstStyle>
            <a:lvl1pPr marL="0" indent="0" algn="ctr">
              <a:lnSpc>
                <a:spcPct val="90000"/>
              </a:lnSpc>
              <a:buNone/>
              <a:defRPr sz="3600" b="1">
                <a:solidFill>
                  <a:schemeClr val="bg1"/>
                </a:solidFill>
              </a:defRPr>
            </a:lvl1pPr>
            <a:lvl2pPr marL="0" indent="0" algn="ctr">
              <a:lnSpc>
                <a:spcPct val="90000"/>
              </a:lnSpc>
              <a:buNone/>
              <a:defRPr sz="320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buNone/>
              <a:defRPr>
                <a:solidFill>
                  <a:schemeClr val="bg1"/>
                </a:solidFill>
              </a:defRPr>
            </a:lvl3pPr>
            <a:lvl4pPr marL="0" indent="0" algn="ctr">
              <a:lnSpc>
                <a:spcPct val="90000"/>
              </a:lnSpc>
              <a:buNone/>
              <a:defRPr>
                <a:solidFill>
                  <a:schemeClr val="bg1"/>
                </a:solidFill>
              </a:defRPr>
            </a:lvl4pPr>
            <a:lvl5pPr marL="0" indent="0" algn="ctr">
              <a:lnSpc>
                <a:spcPct val="90000"/>
              </a:lnSpc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62096556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2565">
          <p15:clr>
            <a:srgbClr val="5ACBF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on Pla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gray">
          <a:xfrm>
            <a:off x="0" y="0"/>
            <a:ext cx="12192000" cy="1099757"/>
          </a:xfrm>
          <a:prstGeom prst="rect">
            <a:avLst/>
          </a:prstGeom>
          <a:solidFill>
            <a:srgbClr val="00529B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914354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04800" y="228600"/>
            <a:ext cx="11576050" cy="5355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 bwMode="gray">
          <a:xfrm>
            <a:off x="304800" y="1325563"/>
            <a:ext cx="11576050" cy="4554537"/>
          </a:xfrm>
        </p:spPr>
        <p:txBody>
          <a:bodyPr/>
          <a:lstStyle>
            <a:lvl1pPr marL="0" indent="0">
              <a:buNone/>
              <a:defRPr b="1"/>
            </a:lvl1pPr>
            <a:lvl2pPr marL="548640" indent="-274320">
              <a:buClr>
                <a:srgbClr val="00529B"/>
              </a:buClr>
              <a:buFont typeface="Wingdings" panose="05000000000000000000" pitchFamily="2" charset="2"/>
              <a:buChar char="§"/>
              <a:defRPr sz="2800"/>
            </a:lvl2pPr>
            <a:lvl3pPr marL="914400" indent="-274320">
              <a:buFont typeface="Arial" panose="020B0604020202020204" pitchFamily="34" charset="0"/>
              <a:buChar char="–"/>
              <a:defRPr sz="2400"/>
            </a:lvl3pPr>
            <a:lvl4pPr marL="1188720" indent="-274320">
              <a:buFont typeface="Wingdings" panose="05000000000000000000" pitchFamily="2" charset="2"/>
              <a:buChar char="§"/>
              <a:defRPr/>
            </a:lvl4pPr>
            <a:lvl5pPr marL="1508760" indent="-274320"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8280650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lling_Mult_Cho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 bwMode="gray">
          <a:xfrm>
            <a:off x="304800" y="1325563"/>
            <a:ext cx="11576050" cy="4554537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  <a:lvl2pPr marL="548640" indent="-274320">
              <a:buClr>
                <a:srgbClr val="00529B"/>
              </a:buClr>
              <a:buFont typeface="Wingdings" panose="05000000000000000000" pitchFamily="2" charset="2"/>
              <a:buChar char="§"/>
              <a:defRPr sz="2800"/>
            </a:lvl2pPr>
            <a:lvl3pPr marL="914400" indent="-274320">
              <a:buFont typeface="Arial" panose="020B0604020202020204" pitchFamily="34" charset="0"/>
              <a:buChar char="–"/>
              <a:defRPr sz="2400"/>
            </a:lvl3pPr>
            <a:lvl4pPr marL="1188720" indent="-274320">
              <a:buFont typeface="Wingdings" panose="05000000000000000000" pitchFamily="2" charset="2"/>
              <a:buChar char="§"/>
              <a:defRPr/>
            </a:lvl4pPr>
            <a:lvl5pPr marL="1508760" indent="-274320"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0493859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304800" y="307975"/>
            <a:ext cx="11576050" cy="5572125"/>
          </a:xfrm>
          <a:prstGeom prst="rect">
            <a:avLst/>
          </a:prstGeom>
          <a:solidFill>
            <a:srgbClr val="00529B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914354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1"/>
          </p:nvPr>
        </p:nvSpPr>
        <p:spPr bwMode="auto">
          <a:xfrm>
            <a:off x="927101" y="933451"/>
            <a:ext cx="5575300" cy="3129502"/>
          </a:xfrm>
          <a:prstGeom prst="rect">
            <a:avLst/>
          </a:prstGeom>
          <a:solidFill>
            <a:schemeClr val="bg1"/>
          </a:solidFill>
        </p:spPr>
        <p:txBody>
          <a:bodyPr lIns="228600" tIns="274320" bIns="91440" anchor="t" anchorCtr="0"/>
          <a:lstStyle>
            <a:lvl1pPr marL="0" indent="0">
              <a:lnSpc>
                <a:spcPct val="90000"/>
              </a:lnSpc>
              <a:buNone/>
              <a:defRPr sz="3600" b="1" baseline="0"/>
            </a:lvl1pPr>
            <a:lvl2pPr marL="0" indent="0">
              <a:buNone/>
              <a:defRPr sz="2800" baseline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66744038"/>
      </p:ext>
    </p:extLst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-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60"/>
          <p:cNvSpPr>
            <a:spLocks noChangeArrowheads="1"/>
          </p:cNvSpPr>
          <p:nvPr userDrawn="1"/>
        </p:nvSpPr>
        <p:spPr bwMode="gray">
          <a:xfrm>
            <a:off x="-793" y="7"/>
            <a:ext cx="12192000" cy="5880093"/>
          </a:xfrm>
          <a:prstGeom prst="rect">
            <a:avLst/>
          </a:prstGeom>
          <a:solidFill>
            <a:srgbClr val="00529B"/>
          </a:solidFill>
          <a:ln w="9525" algn="ctr">
            <a:noFill/>
            <a:miter lim="800000"/>
            <a:headEnd type="none" w="sm" len="sm"/>
            <a:tailEnd type="none" w="sm" len="sm"/>
          </a:ln>
        </p:spPr>
        <p:txBody>
          <a:bodyPr wrap="none" anchor="t" anchorCtr="0"/>
          <a:lstStyle/>
          <a:p>
            <a:pPr algn="l" eaLnBrk="1" fontAlgn="auto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tabLst>
                <a:tab pos="230177" algn="l"/>
              </a:tabLst>
            </a:pPr>
            <a:endParaRPr lang="en-US" sz="1051" kern="0">
              <a:solidFill>
                <a:srgbClr val="FFFFF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 bwMode="gray">
          <a:xfrm>
            <a:off x="304800" y="1325563"/>
            <a:ext cx="11576050" cy="4554537"/>
          </a:xfrm>
        </p:spPr>
        <p:txBody>
          <a:bodyPr/>
          <a:lstStyle>
            <a:lvl1pPr>
              <a:buClrTx/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0534038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60"/>
          <p:cNvSpPr>
            <a:spLocks noChangeArrowheads="1"/>
          </p:cNvSpPr>
          <p:nvPr userDrawn="1"/>
        </p:nvSpPr>
        <p:spPr bwMode="gray">
          <a:xfrm>
            <a:off x="0" y="7"/>
            <a:ext cx="12192000" cy="5880093"/>
          </a:xfrm>
          <a:prstGeom prst="rect">
            <a:avLst/>
          </a:prstGeom>
          <a:solidFill>
            <a:srgbClr val="00529B"/>
          </a:solidFill>
          <a:ln w="9525" algn="ctr">
            <a:noFill/>
            <a:miter lim="800000"/>
            <a:headEnd type="none" w="sm" len="sm"/>
            <a:tailEnd type="none" w="sm" len="sm"/>
          </a:ln>
        </p:spPr>
        <p:txBody>
          <a:bodyPr wrap="none" anchor="t" anchorCtr="0"/>
          <a:lstStyle/>
          <a:p>
            <a:pPr algn="l" eaLnBrk="1" fontAlgn="auto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tabLst>
                <a:tab pos="230177" algn="l"/>
              </a:tabLst>
            </a:pPr>
            <a:endParaRPr lang="en-US" sz="1051" kern="0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94235198"/>
      </p:ext>
    </p:extLst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-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60"/>
          <p:cNvSpPr>
            <a:spLocks noChangeArrowheads="1"/>
          </p:cNvSpPr>
          <p:nvPr userDrawn="1"/>
        </p:nvSpPr>
        <p:spPr bwMode="gray">
          <a:xfrm>
            <a:off x="0" y="7"/>
            <a:ext cx="12192000" cy="5880093"/>
          </a:xfrm>
          <a:prstGeom prst="rect">
            <a:avLst/>
          </a:prstGeom>
          <a:solidFill>
            <a:schemeClr val="tx1"/>
          </a:solidFill>
          <a:ln w="9525" algn="ctr">
            <a:noFill/>
            <a:miter lim="800000"/>
            <a:headEnd type="none" w="sm" len="sm"/>
            <a:tailEnd type="none" w="sm" len="sm"/>
          </a:ln>
        </p:spPr>
        <p:txBody>
          <a:bodyPr wrap="none" anchor="t" anchorCtr="0"/>
          <a:lstStyle/>
          <a:p>
            <a:pPr algn="l" eaLnBrk="1" fontAlgn="auto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tabLst>
                <a:tab pos="230177" algn="l"/>
              </a:tabLst>
            </a:pPr>
            <a:endParaRPr lang="en-US" sz="1051" kern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gray">
          <a:xfrm>
            <a:off x="304800" y="1325563"/>
            <a:ext cx="11576050" cy="4554537"/>
          </a:xfrm>
        </p:spPr>
        <p:txBody>
          <a:bodyPr/>
          <a:lstStyle>
            <a:lvl1pPr>
              <a:buClrTx/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34748534"/>
      </p:ext>
    </p:extLst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60"/>
          <p:cNvSpPr>
            <a:spLocks noChangeArrowheads="1"/>
          </p:cNvSpPr>
          <p:nvPr userDrawn="1"/>
        </p:nvSpPr>
        <p:spPr bwMode="gray">
          <a:xfrm>
            <a:off x="0" y="7"/>
            <a:ext cx="12192000" cy="5880093"/>
          </a:xfrm>
          <a:prstGeom prst="rect">
            <a:avLst/>
          </a:prstGeom>
          <a:solidFill>
            <a:schemeClr val="tx1"/>
          </a:solidFill>
          <a:ln w="9525" algn="ctr">
            <a:noFill/>
            <a:miter lim="800000"/>
            <a:headEnd type="none" w="sm" len="sm"/>
            <a:tailEnd type="none" w="sm" len="sm"/>
          </a:ln>
        </p:spPr>
        <p:txBody>
          <a:bodyPr wrap="none" anchor="t" anchorCtr="0"/>
          <a:lstStyle/>
          <a:p>
            <a:pPr algn="l" eaLnBrk="1" fontAlgn="auto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tabLst>
                <a:tab pos="230177" algn="l"/>
              </a:tabLst>
            </a:pPr>
            <a:endParaRPr lang="en-US" sz="1051" kern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07464418"/>
      </p:ext>
    </p:extLst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half inch boarder"/>
          <p:cNvSpPr>
            <a:spLocks noChangeAspect="1"/>
          </p:cNvSpPr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1173480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0 h 6858000"/>
              <a:gd name="connsiteX3" fmla="*/ 12192000 w 12192000"/>
              <a:gd name="connsiteY3" fmla="*/ 457200 h 6858000"/>
              <a:gd name="connsiteX4" fmla="*/ 12192000 w 12192000"/>
              <a:gd name="connsiteY4" fmla="*/ 6858000 h 6858000"/>
              <a:gd name="connsiteX5" fmla="*/ 11734800 w 12192000"/>
              <a:gd name="connsiteY5" fmla="*/ 6858000 h 6858000"/>
              <a:gd name="connsiteX6" fmla="*/ 11734800 w 12192000"/>
              <a:gd name="connsiteY6" fmla="*/ 457200 h 6858000"/>
              <a:gd name="connsiteX7" fmla="*/ 457200 w 12192000"/>
              <a:gd name="connsiteY7" fmla="*/ 457200 h 6858000"/>
              <a:gd name="connsiteX8" fmla="*/ 457200 w 12192000"/>
              <a:gd name="connsiteY8" fmla="*/ 6858000 h 6858000"/>
              <a:gd name="connsiteX9" fmla="*/ 0 w 12192000"/>
              <a:gd name="connsiteY9" fmla="*/ 6858000 h 6858000"/>
              <a:gd name="connsiteX10" fmla="*/ 0 w 12192000"/>
              <a:gd name="connsiteY10" fmla="*/ 457200 h 6858000"/>
              <a:gd name="connsiteX11" fmla="*/ 0 w 12192000"/>
              <a:gd name="connsiteY11" fmla="*/ 0 h 6858000"/>
              <a:gd name="connsiteX12" fmla="*/ 457200 w 12192000"/>
              <a:gd name="connsiteY12" fmla="*/ 0 h 6858000"/>
              <a:gd name="connsiteX13" fmla="*/ 11734800 w 12192000"/>
              <a:gd name="connsiteY13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2000" h="6858000">
                <a:moveTo>
                  <a:pt x="11734800" y="0"/>
                </a:moveTo>
                <a:lnTo>
                  <a:pt x="12192000" y="0"/>
                </a:lnTo>
                <a:lnTo>
                  <a:pt x="12192000" y="0"/>
                </a:lnTo>
                <a:lnTo>
                  <a:pt x="12192000" y="457200"/>
                </a:lnTo>
                <a:lnTo>
                  <a:pt x="12192000" y="6858000"/>
                </a:lnTo>
                <a:lnTo>
                  <a:pt x="11734800" y="6858000"/>
                </a:lnTo>
                <a:lnTo>
                  <a:pt x="11734800" y="457200"/>
                </a:lnTo>
                <a:lnTo>
                  <a:pt x="457200" y="457200"/>
                </a:lnTo>
                <a:lnTo>
                  <a:pt x="457200" y="6858000"/>
                </a:lnTo>
                <a:lnTo>
                  <a:pt x="0" y="6858000"/>
                </a:lnTo>
                <a:lnTo>
                  <a:pt x="0" y="457200"/>
                </a:lnTo>
                <a:lnTo>
                  <a:pt x="0" y="0"/>
                </a:lnTo>
                <a:lnTo>
                  <a:pt x="457200" y="0"/>
                </a:lnTo>
                <a:lnTo>
                  <a:pt x="11734800" y="0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</a:pPr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 bwMode="gray">
          <a:xfrm>
            <a:off x="0" y="2"/>
            <a:ext cx="12192000" cy="6857998"/>
          </a:xfrm>
          <a:prstGeom prst="rect">
            <a:avLst/>
          </a:prstGeom>
          <a:solidFill>
            <a:srgbClr val="00529B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685766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</a:pPr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04800" y="3140535"/>
            <a:ext cx="11576050" cy="609398"/>
          </a:xfrm>
        </p:spPr>
        <p:txBody>
          <a:bodyPr tIns="0" anchor="ctr" anchorCtr="0"/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465000" y="6208369"/>
            <a:ext cx="1417320" cy="323040"/>
          </a:xfrm>
          <a:prstGeom prst="rect">
            <a:avLst/>
          </a:prstGeom>
        </p:spPr>
      </p:pic>
      <p:sp>
        <p:nvSpPr>
          <p:cNvPr id="8" name="Slide Number Placeholder 12"/>
          <p:cNvSpPr txBox="1">
            <a:spLocks/>
          </p:cNvSpPr>
          <p:nvPr userDrawn="1"/>
        </p:nvSpPr>
        <p:spPr bwMode="gray">
          <a:xfrm>
            <a:off x="304801" y="6446090"/>
            <a:ext cx="2957512" cy="96950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lang="en-US" sz="700" b="0" kern="120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4572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9144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3716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18288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algn="l">
              <a:spcBef>
                <a:spcPts val="0"/>
              </a:spcBef>
              <a:spcAft>
                <a:spcPts val="600"/>
              </a:spcAft>
              <a:tabLst>
                <a:tab pos="228600" algn="l"/>
              </a:tabLst>
            </a:pPr>
            <a:fld id="{46808349-582F-4D2B-AF22-1E3714E0589A}" type="slidenum">
              <a:rPr>
                <a:solidFill>
                  <a:srgbClr val="FFFFFF">
                    <a:lumMod val="85000"/>
                  </a:srgbClr>
                </a:solidFill>
              </a:rPr>
              <a:pPr algn="l">
                <a:spcBef>
                  <a:spcPts val="0"/>
                </a:spcBef>
                <a:spcAft>
                  <a:spcPts val="600"/>
                </a:spcAft>
                <a:tabLst>
                  <a:tab pos="228600" algn="l"/>
                </a:tabLst>
              </a:pPr>
              <a:t>‹Nº›</a:t>
            </a:fld>
            <a:r>
              <a:rPr>
                <a:solidFill>
                  <a:srgbClr val="FFFFFF">
                    <a:lumMod val="85000"/>
                  </a:srgbClr>
                </a:solidFill>
              </a:rPr>
              <a:t>	© 2017 Gartner, Inc.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126085313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 Strategy Slide - Numbered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1475CCC-25DD-4E5A-A479-08DE062B1C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68820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1475CCC-25DD-4E5A-A479-08DE062B1C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DF9A9DBF-2E2C-4D76-B2FD-C0BC6BAE29E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47453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NUMBERED BULLET POINTS WITH DESCRIPTIONS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736571" y="1548820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| 01</a:t>
            </a:r>
          </a:p>
        </p:txBody>
      </p:sp>
      <p:sp>
        <p:nvSpPr>
          <p:cNvPr id="75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546783" y="1548820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4" y="2080519"/>
            <a:ext cx="5980386" cy="408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aseline="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76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36571" y="2678157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| 02</a:t>
            </a:r>
          </a:p>
        </p:txBody>
      </p:sp>
      <p:sp>
        <p:nvSpPr>
          <p:cNvPr id="77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546783" y="2678157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7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725214" y="3209856"/>
            <a:ext cx="5475889" cy="408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79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36571" y="3809511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| 03</a:t>
            </a:r>
          </a:p>
        </p:txBody>
      </p:sp>
      <p:sp>
        <p:nvSpPr>
          <p:cNvPr id="80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1546783" y="3809511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81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725214" y="4341210"/>
            <a:ext cx="5707117" cy="392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5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736571" y="4927598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| 04</a:t>
            </a:r>
          </a:p>
        </p:txBody>
      </p:sp>
      <p:sp>
        <p:nvSpPr>
          <p:cNvPr id="86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1546783" y="4927598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87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725214" y="5459297"/>
            <a:ext cx="5085527" cy="392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9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9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05D11C14-1D90-4E49-861E-C07B5B047CC5}" type="datetime2">
              <a:rPr lang="en-US" smtClean="0"/>
              <a:t>Sunday, October 19, 2025</a:t>
            </a:fld>
            <a:endParaRPr lang="en-US"/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70548696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ue -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60"/>
          <p:cNvSpPr>
            <a:spLocks noChangeArrowheads="1"/>
          </p:cNvSpPr>
          <p:nvPr userDrawn="1"/>
        </p:nvSpPr>
        <p:spPr bwMode="gray">
          <a:xfrm>
            <a:off x="-793" y="8"/>
            <a:ext cx="12192000" cy="6857992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 type="none" w="sm" len="sm"/>
            <a:tailEnd type="none" w="sm" len="sm"/>
          </a:ln>
        </p:spPr>
        <p:txBody>
          <a:bodyPr wrap="none" anchor="t" anchorCtr="0"/>
          <a:lstStyle/>
          <a:p>
            <a:pPr algn="l" eaLnBrk="1" fontAlgn="auto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tabLst>
                <a:tab pos="172633" algn="l"/>
              </a:tabLst>
            </a:pPr>
            <a:endParaRPr lang="en-US" sz="788" kern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465000" y="6208369"/>
            <a:ext cx="1417320" cy="323040"/>
          </a:xfrm>
          <a:prstGeom prst="rect">
            <a:avLst/>
          </a:prstGeom>
        </p:spPr>
      </p:pic>
      <p:sp>
        <p:nvSpPr>
          <p:cNvPr id="8" name="Slide Number Placeholder 12"/>
          <p:cNvSpPr txBox="1">
            <a:spLocks/>
          </p:cNvSpPr>
          <p:nvPr userDrawn="1"/>
        </p:nvSpPr>
        <p:spPr bwMode="gray">
          <a:xfrm>
            <a:off x="304801" y="6446090"/>
            <a:ext cx="2957512" cy="96950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lang="en-US" sz="700" b="0" kern="120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4572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9144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3716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18288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algn="l">
              <a:spcBef>
                <a:spcPts val="0"/>
              </a:spcBef>
              <a:spcAft>
                <a:spcPts val="600"/>
              </a:spcAft>
              <a:tabLst>
                <a:tab pos="228600" algn="l"/>
              </a:tabLst>
            </a:pPr>
            <a:fld id="{46808349-582F-4D2B-AF22-1E3714E0589A}" type="slidenum">
              <a:rPr>
                <a:solidFill>
                  <a:srgbClr val="FFFFFF">
                    <a:lumMod val="85000"/>
                  </a:srgbClr>
                </a:solidFill>
              </a:rPr>
              <a:pPr algn="l">
                <a:spcBef>
                  <a:spcPts val="0"/>
                </a:spcBef>
                <a:spcAft>
                  <a:spcPts val="600"/>
                </a:spcAft>
                <a:tabLst>
                  <a:tab pos="228600" algn="l"/>
                </a:tabLst>
              </a:pPr>
              <a:t>‹Nº›</a:t>
            </a:fld>
            <a:r>
              <a:rPr>
                <a:solidFill>
                  <a:srgbClr val="FFFFFF">
                    <a:lumMod val="85000"/>
                  </a:srgbClr>
                </a:solidFill>
              </a:rPr>
              <a:t>	© 2017 Gartner, Inc.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781597066"/>
      </p:ext>
    </p:extLst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ue -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60"/>
          <p:cNvSpPr>
            <a:spLocks noChangeArrowheads="1"/>
          </p:cNvSpPr>
          <p:nvPr userDrawn="1"/>
        </p:nvSpPr>
        <p:spPr bwMode="gray">
          <a:xfrm>
            <a:off x="-793" y="8"/>
            <a:ext cx="12192000" cy="6857992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 type="none" w="sm" len="sm"/>
            <a:tailEnd type="none" w="sm" len="sm"/>
          </a:ln>
        </p:spPr>
        <p:txBody>
          <a:bodyPr wrap="none" anchor="t" anchorCtr="0"/>
          <a:lstStyle/>
          <a:p>
            <a:pPr algn="l" eaLnBrk="1" fontAlgn="auto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tabLst>
                <a:tab pos="172633" algn="l"/>
              </a:tabLst>
            </a:pPr>
            <a:endParaRPr lang="en-US" sz="788" kern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 bwMode="gray">
          <a:xfrm>
            <a:off x="304800" y="1325565"/>
            <a:ext cx="11576050" cy="4554536"/>
          </a:xfrm>
        </p:spPr>
        <p:txBody>
          <a:bodyPr/>
          <a:lstStyle>
            <a:lvl1pPr>
              <a:buClrTx/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465000" y="6208369"/>
            <a:ext cx="1417320" cy="323040"/>
          </a:xfrm>
          <a:prstGeom prst="rect">
            <a:avLst/>
          </a:prstGeom>
        </p:spPr>
      </p:pic>
      <p:sp>
        <p:nvSpPr>
          <p:cNvPr id="10" name="Slide Number Placeholder 12"/>
          <p:cNvSpPr txBox="1">
            <a:spLocks/>
          </p:cNvSpPr>
          <p:nvPr userDrawn="1"/>
        </p:nvSpPr>
        <p:spPr bwMode="gray">
          <a:xfrm>
            <a:off x="304801" y="6446090"/>
            <a:ext cx="2957512" cy="96950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lang="en-US" sz="700" b="0" kern="120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4572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9144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3716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18288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algn="l">
              <a:spcBef>
                <a:spcPts val="0"/>
              </a:spcBef>
              <a:spcAft>
                <a:spcPts val="600"/>
              </a:spcAft>
              <a:tabLst>
                <a:tab pos="228600" algn="l"/>
              </a:tabLst>
            </a:pPr>
            <a:fld id="{46808349-582F-4D2B-AF22-1E3714E0589A}" type="slidenum">
              <a:rPr>
                <a:solidFill>
                  <a:srgbClr val="FFFFFF">
                    <a:lumMod val="85000"/>
                  </a:srgbClr>
                </a:solidFill>
              </a:rPr>
              <a:pPr algn="l">
                <a:spcBef>
                  <a:spcPts val="0"/>
                </a:spcBef>
                <a:spcAft>
                  <a:spcPts val="600"/>
                </a:spcAft>
                <a:tabLst>
                  <a:tab pos="228600" algn="l"/>
                </a:tabLst>
              </a:pPr>
              <a:t>‹Nº›</a:t>
            </a:fld>
            <a:r>
              <a:rPr>
                <a:solidFill>
                  <a:srgbClr val="FFFFFF">
                    <a:lumMod val="85000"/>
                  </a:srgbClr>
                </a:solidFill>
              </a:rPr>
              <a:t>	© 2017 Gartner, Inc.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9282489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Slide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half inch boarder"/>
          <p:cNvSpPr>
            <a:spLocks noChangeAspect="1"/>
          </p:cNvSpPr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1173480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0 h 6858000"/>
              <a:gd name="connsiteX3" fmla="*/ 12192000 w 12192000"/>
              <a:gd name="connsiteY3" fmla="*/ 457200 h 6858000"/>
              <a:gd name="connsiteX4" fmla="*/ 12192000 w 12192000"/>
              <a:gd name="connsiteY4" fmla="*/ 6858000 h 6858000"/>
              <a:gd name="connsiteX5" fmla="*/ 11734800 w 12192000"/>
              <a:gd name="connsiteY5" fmla="*/ 6858000 h 6858000"/>
              <a:gd name="connsiteX6" fmla="*/ 11734800 w 12192000"/>
              <a:gd name="connsiteY6" fmla="*/ 457200 h 6858000"/>
              <a:gd name="connsiteX7" fmla="*/ 457200 w 12192000"/>
              <a:gd name="connsiteY7" fmla="*/ 457200 h 6858000"/>
              <a:gd name="connsiteX8" fmla="*/ 457200 w 12192000"/>
              <a:gd name="connsiteY8" fmla="*/ 6858000 h 6858000"/>
              <a:gd name="connsiteX9" fmla="*/ 0 w 12192000"/>
              <a:gd name="connsiteY9" fmla="*/ 6858000 h 6858000"/>
              <a:gd name="connsiteX10" fmla="*/ 0 w 12192000"/>
              <a:gd name="connsiteY10" fmla="*/ 457200 h 6858000"/>
              <a:gd name="connsiteX11" fmla="*/ 0 w 12192000"/>
              <a:gd name="connsiteY11" fmla="*/ 0 h 6858000"/>
              <a:gd name="connsiteX12" fmla="*/ 457200 w 12192000"/>
              <a:gd name="connsiteY12" fmla="*/ 0 h 6858000"/>
              <a:gd name="connsiteX13" fmla="*/ 11734800 w 12192000"/>
              <a:gd name="connsiteY13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2000" h="6858000">
                <a:moveTo>
                  <a:pt x="11734800" y="0"/>
                </a:moveTo>
                <a:lnTo>
                  <a:pt x="12192000" y="0"/>
                </a:lnTo>
                <a:lnTo>
                  <a:pt x="12192000" y="0"/>
                </a:lnTo>
                <a:lnTo>
                  <a:pt x="12192000" y="457200"/>
                </a:lnTo>
                <a:lnTo>
                  <a:pt x="12192000" y="6858000"/>
                </a:lnTo>
                <a:lnTo>
                  <a:pt x="11734800" y="6858000"/>
                </a:lnTo>
                <a:lnTo>
                  <a:pt x="11734800" y="457200"/>
                </a:lnTo>
                <a:lnTo>
                  <a:pt x="457200" y="457200"/>
                </a:lnTo>
                <a:lnTo>
                  <a:pt x="457200" y="6858000"/>
                </a:lnTo>
                <a:lnTo>
                  <a:pt x="0" y="6858000"/>
                </a:lnTo>
                <a:lnTo>
                  <a:pt x="0" y="457200"/>
                </a:lnTo>
                <a:lnTo>
                  <a:pt x="0" y="0"/>
                </a:lnTo>
                <a:lnTo>
                  <a:pt x="457200" y="0"/>
                </a:lnTo>
                <a:lnTo>
                  <a:pt x="11734800" y="0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</a:pPr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 bwMode="gray">
          <a:xfrm>
            <a:off x="0" y="2"/>
            <a:ext cx="12192000" cy="6857998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685766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</a:pPr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04800" y="3140535"/>
            <a:ext cx="11576050" cy="609398"/>
          </a:xfrm>
        </p:spPr>
        <p:txBody>
          <a:bodyPr tIns="0" anchor="ctr" anchorCtr="0"/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465000" y="6208369"/>
            <a:ext cx="1417320" cy="323040"/>
          </a:xfrm>
          <a:prstGeom prst="rect">
            <a:avLst/>
          </a:prstGeom>
        </p:spPr>
      </p:pic>
      <p:sp>
        <p:nvSpPr>
          <p:cNvPr id="10" name="Slide Number Placeholder 12"/>
          <p:cNvSpPr txBox="1">
            <a:spLocks/>
          </p:cNvSpPr>
          <p:nvPr userDrawn="1"/>
        </p:nvSpPr>
        <p:spPr bwMode="gray">
          <a:xfrm>
            <a:off x="304801" y="6446090"/>
            <a:ext cx="2957512" cy="96950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lang="en-US" sz="700" b="0" kern="120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4572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9144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3716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18288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algn="l">
              <a:spcBef>
                <a:spcPts val="0"/>
              </a:spcBef>
              <a:spcAft>
                <a:spcPts val="600"/>
              </a:spcAft>
              <a:tabLst>
                <a:tab pos="228600" algn="l"/>
              </a:tabLst>
            </a:pPr>
            <a:fld id="{46808349-582F-4D2B-AF22-1E3714E0589A}" type="slidenum">
              <a:rPr>
                <a:solidFill>
                  <a:srgbClr val="FFFFFF">
                    <a:lumMod val="85000"/>
                  </a:srgbClr>
                </a:solidFill>
              </a:rPr>
              <a:pPr algn="l">
                <a:spcBef>
                  <a:spcPts val="0"/>
                </a:spcBef>
                <a:spcAft>
                  <a:spcPts val="600"/>
                </a:spcAft>
                <a:tabLst>
                  <a:tab pos="228600" algn="l"/>
                </a:tabLst>
              </a:pPr>
              <a:t>‹Nº›</a:t>
            </a:fld>
            <a:r>
              <a:rPr>
                <a:solidFill>
                  <a:srgbClr val="FFFFFF">
                    <a:lumMod val="85000"/>
                  </a:srgbClr>
                </a:solidFill>
              </a:rPr>
              <a:t>	© 2017 Gartner, Inc.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820735737"/>
      </p:ext>
    </p:extLst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ck -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60"/>
          <p:cNvSpPr>
            <a:spLocks noChangeArrowheads="1"/>
          </p:cNvSpPr>
          <p:nvPr userDrawn="1"/>
        </p:nvSpPr>
        <p:spPr bwMode="gray">
          <a:xfrm>
            <a:off x="-793" y="8"/>
            <a:ext cx="12192000" cy="6857992"/>
          </a:xfrm>
          <a:prstGeom prst="rect">
            <a:avLst/>
          </a:prstGeom>
          <a:solidFill>
            <a:schemeClr val="tx1"/>
          </a:solidFill>
          <a:ln w="9525" algn="ctr">
            <a:noFill/>
            <a:miter lim="800000"/>
            <a:headEnd type="none" w="sm" len="sm"/>
            <a:tailEnd type="none" w="sm" len="sm"/>
          </a:ln>
        </p:spPr>
        <p:txBody>
          <a:bodyPr wrap="none" anchor="t" anchorCtr="0"/>
          <a:lstStyle/>
          <a:p>
            <a:pPr algn="l" eaLnBrk="1" fontAlgn="auto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tabLst>
                <a:tab pos="172633" algn="l"/>
              </a:tabLst>
            </a:pPr>
            <a:endParaRPr lang="en-US" sz="788" kern="0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465000" y="6208369"/>
            <a:ext cx="1417320" cy="323040"/>
          </a:xfrm>
          <a:prstGeom prst="rect">
            <a:avLst/>
          </a:prstGeom>
        </p:spPr>
      </p:pic>
      <p:sp>
        <p:nvSpPr>
          <p:cNvPr id="8" name="Slide Number Placeholder 12"/>
          <p:cNvSpPr txBox="1">
            <a:spLocks/>
          </p:cNvSpPr>
          <p:nvPr userDrawn="1"/>
        </p:nvSpPr>
        <p:spPr bwMode="gray">
          <a:xfrm>
            <a:off x="304801" y="6446090"/>
            <a:ext cx="2957512" cy="96950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lang="en-US" sz="700" b="0" kern="120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4572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9144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3716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18288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algn="l">
              <a:spcBef>
                <a:spcPts val="0"/>
              </a:spcBef>
              <a:spcAft>
                <a:spcPts val="600"/>
              </a:spcAft>
              <a:tabLst>
                <a:tab pos="228600" algn="l"/>
              </a:tabLst>
            </a:pPr>
            <a:fld id="{46808349-582F-4D2B-AF22-1E3714E0589A}" type="slidenum">
              <a:rPr>
                <a:solidFill>
                  <a:srgbClr val="FFFFFF">
                    <a:lumMod val="85000"/>
                  </a:srgbClr>
                </a:solidFill>
              </a:rPr>
              <a:pPr algn="l">
                <a:spcBef>
                  <a:spcPts val="0"/>
                </a:spcBef>
                <a:spcAft>
                  <a:spcPts val="600"/>
                </a:spcAft>
                <a:tabLst>
                  <a:tab pos="228600" algn="l"/>
                </a:tabLst>
              </a:pPr>
              <a:t>‹Nº›</a:t>
            </a:fld>
            <a:r>
              <a:rPr>
                <a:solidFill>
                  <a:srgbClr val="FFFFFF">
                    <a:lumMod val="85000"/>
                  </a:srgbClr>
                </a:solidFill>
              </a:rPr>
              <a:t>	© 2017 Gartner, Inc.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20679375"/>
      </p:ext>
    </p:extLst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ck -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60"/>
          <p:cNvSpPr>
            <a:spLocks noChangeArrowheads="1"/>
          </p:cNvSpPr>
          <p:nvPr userDrawn="1"/>
        </p:nvSpPr>
        <p:spPr bwMode="gray">
          <a:xfrm>
            <a:off x="-793" y="8"/>
            <a:ext cx="12192000" cy="6857992"/>
          </a:xfrm>
          <a:prstGeom prst="rect">
            <a:avLst/>
          </a:prstGeom>
          <a:solidFill>
            <a:schemeClr val="tx1"/>
          </a:solidFill>
          <a:ln w="9525" algn="ctr">
            <a:noFill/>
            <a:miter lim="800000"/>
            <a:headEnd type="none" w="sm" len="sm"/>
            <a:tailEnd type="none" w="sm" len="sm"/>
          </a:ln>
        </p:spPr>
        <p:txBody>
          <a:bodyPr wrap="none" anchor="t" anchorCtr="0"/>
          <a:lstStyle/>
          <a:p>
            <a:pPr algn="l" eaLnBrk="1" fontAlgn="auto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tabLst>
                <a:tab pos="172633" algn="l"/>
              </a:tabLst>
            </a:pPr>
            <a:endParaRPr lang="en-US" sz="788" kern="0">
              <a:solidFill>
                <a:srgbClr val="FFFFF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 bwMode="gray">
          <a:xfrm>
            <a:off x="304800" y="1325563"/>
            <a:ext cx="11576050" cy="4554537"/>
          </a:xfrm>
        </p:spPr>
        <p:txBody>
          <a:bodyPr/>
          <a:lstStyle>
            <a:lvl1pPr>
              <a:buClrTx/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465000" y="6208369"/>
            <a:ext cx="1417320" cy="323040"/>
          </a:xfrm>
          <a:prstGeom prst="rect">
            <a:avLst/>
          </a:prstGeom>
        </p:spPr>
      </p:pic>
      <p:sp>
        <p:nvSpPr>
          <p:cNvPr id="10" name="Slide Number Placeholder 12"/>
          <p:cNvSpPr txBox="1">
            <a:spLocks/>
          </p:cNvSpPr>
          <p:nvPr userDrawn="1"/>
        </p:nvSpPr>
        <p:spPr bwMode="gray">
          <a:xfrm>
            <a:off x="304801" y="6446090"/>
            <a:ext cx="2957512" cy="96950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lang="en-US" sz="700" b="0" kern="120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4572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9144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3716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18288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algn="l">
              <a:spcBef>
                <a:spcPts val="0"/>
              </a:spcBef>
              <a:spcAft>
                <a:spcPts val="600"/>
              </a:spcAft>
              <a:tabLst>
                <a:tab pos="228600" algn="l"/>
              </a:tabLst>
            </a:pPr>
            <a:fld id="{46808349-582F-4D2B-AF22-1E3714E0589A}" type="slidenum">
              <a:rPr>
                <a:solidFill>
                  <a:srgbClr val="FFFFFF">
                    <a:lumMod val="85000"/>
                  </a:srgbClr>
                </a:solidFill>
              </a:rPr>
              <a:pPr algn="l">
                <a:spcBef>
                  <a:spcPts val="0"/>
                </a:spcBef>
                <a:spcAft>
                  <a:spcPts val="600"/>
                </a:spcAft>
                <a:tabLst>
                  <a:tab pos="228600" algn="l"/>
                </a:tabLst>
              </a:pPr>
              <a:t>‹Nº›</a:t>
            </a:fld>
            <a:r>
              <a:rPr>
                <a:solidFill>
                  <a:srgbClr val="FFFFFF">
                    <a:lumMod val="85000"/>
                  </a:srgbClr>
                </a:solidFill>
              </a:rPr>
              <a:t>	© 2017 Gartner, Inc.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4433169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Strategy Slide -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C1C7DF17-DA3C-48C3-9DA4-B3581C9447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769574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C1C7DF17-DA3C-48C3-9DA4-B3581C9447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113ED5A2-EF0D-4D88-9E59-8326B064734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2"/>
            <a:ext cx="9966660" cy="6431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NTENTS PAGE/SLIDE WITH NUMBERS.</a:t>
            </a:r>
          </a:p>
        </p:txBody>
      </p:sp>
      <p:graphicFrame>
        <p:nvGraphicFramePr>
          <p:cNvPr id="12" name="Table 11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653474019"/>
              </p:ext>
            </p:extLst>
          </p:nvPr>
        </p:nvGraphicFramePr>
        <p:xfrm>
          <a:off x="725212" y="1553302"/>
          <a:ext cx="10773106" cy="4246129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944880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2430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INTRODUCTION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6254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FIRST TOPIC HER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  <a:endParaRPr lang="en-US" sz="1200" baseline="0">
                        <a:solidFill>
                          <a:schemeClr val="accent3"/>
                        </a:solidFill>
                      </a:endParaRP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Third Subject Heading Her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3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4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5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3682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SECOND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TOPIC HER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7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8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9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THIRD TOPIC HERE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0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FOURTH TOPIC HERE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62546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FIFTH TOPIC HERE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Third Subject Heading Her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8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19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20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21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SIXTH TOPIC HERE.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2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SEVENTH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TOPIC HER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4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7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8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8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10679122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Strategy Slide - Intro Para,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65552740-4228-4285-887F-AB772DF6F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999693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65552740-4228-4285-887F-AB772DF6F5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5F91E1F3-2BEF-4354-937C-2864A86615A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4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NTRO PARAGRAPH WITH BULLET POINTS AND PICTURE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3" y="1553303"/>
            <a:ext cx="6515059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1" y="1552576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3" y="2332849"/>
            <a:ext cx="6513787" cy="3262313"/>
          </a:xfrm>
          <a:prstGeom prst="rect">
            <a:avLst/>
          </a:prstGeom>
        </p:spPr>
        <p:txBody>
          <a:bodyPr lIns="0" tIns="0" rIns="0" bIns="0"/>
          <a:lstStyle>
            <a:lvl1pPr marL="134935" indent="-134935">
              <a:tabLst/>
              <a:defRPr sz="1400" baseline="0"/>
            </a:lvl1pPr>
            <a:lvl2pPr marL="314317" indent="-136522">
              <a:tabLst/>
              <a:defRPr sz="1200" baseline="0"/>
            </a:lvl2pPr>
            <a:lvl3pPr marL="450839" indent="-136522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38692014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Strategy Slide - Intro Para, Bullets, 4 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F2899EAE-A1EF-4708-8F2F-C63ED0412F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60701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F2899EAE-A1EF-4708-8F2F-C63ED0412F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03FE2C61-42A3-4EB6-A0AF-222167CA676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4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NTRO PARAGRAPH WITH BULLET POINTS AND 4 X PICTURES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3" y="1553303"/>
            <a:ext cx="6515059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3" y="1552577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3" y="2332849"/>
            <a:ext cx="6513787" cy="3262313"/>
          </a:xfrm>
          <a:prstGeom prst="rect">
            <a:avLst/>
          </a:prstGeom>
        </p:spPr>
        <p:txBody>
          <a:bodyPr lIns="0" tIns="0" rIns="0" bIns="0"/>
          <a:lstStyle>
            <a:lvl1pPr marL="134935" indent="-134935">
              <a:tabLst/>
              <a:defRPr sz="1400" baseline="0"/>
            </a:lvl1pPr>
            <a:lvl2pPr marL="314317" indent="-136522">
              <a:tabLst/>
              <a:defRPr sz="1200" baseline="0"/>
            </a:lvl2pPr>
            <a:lvl3pPr marL="450839" indent="-136522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37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9804401" y="1552577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38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7550153" y="3762377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39" name="Picture Placeholder 8"/>
          <p:cNvSpPr>
            <a:spLocks noGrp="1"/>
          </p:cNvSpPr>
          <p:nvPr>
            <p:ph type="pic" sz="quarter" idx="15" hasCustomPrompt="1"/>
          </p:nvPr>
        </p:nvSpPr>
        <p:spPr>
          <a:xfrm>
            <a:off x="9804401" y="3762377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40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41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42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75780038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 Strategy Slide - Large Bol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6A3F2D9-FAC1-4D18-8C97-DBDC768D02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028754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6A3F2D9-FAC1-4D18-8C97-DBDC768D02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95A114C1-F623-4826-A9AE-014E3B65CF2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2"/>
            <a:ext cx="9966660" cy="6050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LARGE BOLD TEXT FOR CREATIVE INTEREST.</a:t>
            </a:r>
          </a:p>
        </p:txBody>
      </p:sp>
      <p:sp>
        <p:nvSpPr>
          <p:cNvPr id="44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801" y="1698045"/>
            <a:ext cx="10348785" cy="43800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4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4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4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66454689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 Strategy Slide - Large Bold 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C7B8557E-3425-4C56-B007-F68EA4279B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9634676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C7B8557E-3425-4C56-B007-F68EA4279B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EFCF03AE-A1B8-4191-A665-925EA962FBA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2"/>
            <a:ext cx="9966660" cy="63586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LARGE BOLD TEXT WITH PICTURE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1" y="1552576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75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800" y="1698047"/>
            <a:ext cx="6444347" cy="32050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s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</a:t>
            </a:r>
          </a:p>
        </p:txBody>
      </p:sp>
      <p:sp>
        <p:nvSpPr>
          <p:cNvPr id="7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7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5377799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 Strategy Slide - Icon/Symbol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4287AC9-49FF-42C4-9E2B-EFFCA46BA6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5611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44287AC9-49FF-42C4-9E2B-EFFCA46BA6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0998EBE3-5450-473D-B6E8-C6CAF10357F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86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CON/SYMBOL BULLET POINTS WITH PICTURE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75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546782" y="1548820"/>
            <a:ext cx="5493795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4" hasCustomPrompt="1"/>
          </p:nvPr>
        </p:nvSpPr>
        <p:spPr>
          <a:xfrm>
            <a:off x="725213" y="1536239"/>
            <a:ext cx="726483" cy="584200"/>
          </a:xfrm>
          <a:prstGeom prst="rect">
            <a:avLst/>
          </a:prstGeom>
          <a:solidFill>
            <a:schemeClr val="accent3">
              <a:lumMod val="5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54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1546782" y="2362201"/>
            <a:ext cx="5751873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55" name="Picture Placeholder 5"/>
          <p:cNvSpPr>
            <a:spLocks noGrp="1"/>
          </p:cNvSpPr>
          <p:nvPr>
            <p:ph type="pic" sz="quarter" idx="26" hasCustomPrompt="1"/>
          </p:nvPr>
        </p:nvSpPr>
        <p:spPr>
          <a:xfrm>
            <a:off x="725213" y="2349620"/>
            <a:ext cx="726483" cy="584200"/>
          </a:xfrm>
          <a:prstGeom prst="rect">
            <a:avLst/>
          </a:prstGeom>
          <a:solidFill>
            <a:schemeClr val="accent3">
              <a:lumMod val="75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82" name="Text Placeholder 9"/>
          <p:cNvSpPr>
            <a:spLocks noGrp="1"/>
          </p:cNvSpPr>
          <p:nvPr>
            <p:ph type="body" sz="quarter" idx="27" hasCustomPrompt="1"/>
          </p:nvPr>
        </p:nvSpPr>
        <p:spPr>
          <a:xfrm>
            <a:off x="1546783" y="3191126"/>
            <a:ext cx="4801368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3" name="Picture Placeholder 5"/>
          <p:cNvSpPr>
            <a:spLocks noGrp="1"/>
          </p:cNvSpPr>
          <p:nvPr>
            <p:ph type="pic" sz="quarter" idx="28" hasCustomPrompt="1"/>
          </p:nvPr>
        </p:nvSpPr>
        <p:spPr>
          <a:xfrm>
            <a:off x="725213" y="3178545"/>
            <a:ext cx="726483" cy="584200"/>
          </a:xfrm>
          <a:prstGeom prst="rect">
            <a:avLst/>
          </a:prstGeom>
          <a:solidFill>
            <a:schemeClr val="accent3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84" name="Text Placeholder 9"/>
          <p:cNvSpPr>
            <a:spLocks noGrp="1"/>
          </p:cNvSpPr>
          <p:nvPr>
            <p:ph type="body" sz="quarter" idx="29" hasCustomPrompt="1"/>
          </p:nvPr>
        </p:nvSpPr>
        <p:spPr>
          <a:xfrm>
            <a:off x="1546783" y="4034623"/>
            <a:ext cx="5493794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br>
              <a:rPr lang="en-US"/>
            </a:b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8" name="Picture Placeholder 5"/>
          <p:cNvSpPr>
            <a:spLocks noGrp="1"/>
          </p:cNvSpPr>
          <p:nvPr>
            <p:ph type="pic" sz="quarter" idx="30" hasCustomPrompt="1"/>
          </p:nvPr>
        </p:nvSpPr>
        <p:spPr>
          <a:xfrm>
            <a:off x="725213" y="4022042"/>
            <a:ext cx="726483" cy="584200"/>
          </a:xfrm>
          <a:prstGeom prst="rect">
            <a:avLst/>
          </a:prstGeom>
          <a:solidFill>
            <a:schemeClr val="tx1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93" name="Text Placeholder 9"/>
          <p:cNvSpPr>
            <a:spLocks noGrp="1"/>
          </p:cNvSpPr>
          <p:nvPr>
            <p:ph type="body" sz="quarter" idx="31" hasCustomPrompt="1"/>
          </p:nvPr>
        </p:nvSpPr>
        <p:spPr>
          <a:xfrm>
            <a:off x="1546783" y="4874167"/>
            <a:ext cx="5863010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94" name="Picture Placeholder 5"/>
          <p:cNvSpPr>
            <a:spLocks noGrp="1"/>
          </p:cNvSpPr>
          <p:nvPr>
            <p:ph type="pic" sz="quarter" idx="32" hasCustomPrompt="1"/>
          </p:nvPr>
        </p:nvSpPr>
        <p:spPr>
          <a:xfrm>
            <a:off x="725213" y="4861586"/>
            <a:ext cx="726483" cy="584200"/>
          </a:xfrm>
          <a:prstGeom prst="rect">
            <a:avLst/>
          </a:prstGeom>
          <a:solidFill>
            <a:schemeClr val="tx2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9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9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9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155A82DC-71FF-4B7D-BDCE-824A3FE355FE}" type="datetime2">
              <a:rPr lang="en-US" smtClean="0"/>
              <a:t>Sunday, October 19, 2025</a:t>
            </a:fld>
            <a:endParaRPr lang="en-US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00302123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 Strategy Slide - Numbered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1475CCC-25DD-4E5A-A479-08DE062B1C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718514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1475CCC-25DD-4E5A-A479-08DE062B1C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DF9A9DBF-2E2C-4D76-B2FD-C0BC6BAE29E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4"/>
            <a:ext cx="9966660" cy="647453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NUMBERED BULLET POINTS WITH DESCRIPTIONS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1" y="1552576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736572" y="1548822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| 01</a:t>
            </a:r>
          </a:p>
        </p:txBody>
      </p:sp>
      <p:sp>
        <p:nvSpPr>
          <p:cNvPr id="75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546783" y="1548822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2080519"/>
            <a:ext cx="5980387" cy="408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aseline="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76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36572" y="2678159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| 02</a:t>
            </a:r>
          </a:p>
        </p:txBody>
      </p:sp>
      <p:sp>
        <p:nvSpPr>
          <p:cNvPr id="77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546783" y="2678159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7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725216" y="3209856"/>
            <a:ext cx="5475889" cy="408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79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36572" y="3809511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| 03</a:t>
            </a:r>
          </a:p>
        </p:txBody>
      </p:sp>
      <p:sp>
        <p:nvSpPr>
          <p:cNvPr id="80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1546783" y="3809511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81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725215" y="4341212"/>
            <a:ext cx="5707117" cy="392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5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736572" y="4927600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| 04</a:t>
            </a:r>
          </a:p>
        </p:txBody>
      </p:sp>
      <p:sp>
        <p:nvSpPr>
          <p:cNvPr id="86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1546783" y="4927600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87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725215" y="5459299"/>
            <a:ext cx="5085527" cy="392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9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9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98984363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 Strategy Slide - Icon/Symbol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4287AC9-49FF-42C4-9E2B-EFFCA46BA6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758022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44287AC9-49FF-42C4-9E2B-EFFCA46BA6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0998EBE3-5450-473D-B6E8-C6CAF10357F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2"/>
            <a:ext cx="9966660" cy="63586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CON/SYMBOL BULLET POINTS WITH PICTURE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1" y="1552576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75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546783" y="1548822"/>
            <a:ext cx="5493795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4" hasCustomPrompt="1"/>
          </p:nvPr>
        </p:nvSpPr>
        <p:spPr>
          <a:xfrm>
            <a:off x="725213" y="1536239"/>
            <a:ext cx="726483" cy="584200"/>
          </a:xfrm>
          <a:prstGeom prst="rect">
            <a:avLst/>
          </a:prstGeom>
          <a:solidFill>
            <a:schemeClr val="accent3">
              <a:lumMod val="5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54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1546784" y="2362203"/>
            <a:ext cx="5751873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55" name="Picture Placeholder 5"/>
          <p:cNvSpPr>
            <a:spLocks noGrp="1"/>
          </p:cNvSpPr>
          <p:nvPr>
            <p:ph type="pic" sz="quarter" idx="26" hasCustomPrompt="1"/>
          </p:nvPr>
        </p:nvSpPr>
        <p:spPr>
          <a:xfrm>
            <a:off x="725213" y="2349620"/>
            <a:ext cx="726483" cy="584200"/>
          </a:xfrm>
          <a:prstGeom prst="rect">
            <a:avLst/>
          </a:prstGeom>
          <a:solidFill>
            <a:schemeClr val="accent3">
              <a:lumMod val="75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82" name="Text Placeholder 9"/>
          <p:cNvSpPr>
            <a:spLocks noGrp="1"/>
          </p:cNvSpPr>
          <p:nvPr>
            <p:ph type="body" sz="quarter" idx="27" hasCustomPrompt="1"/>
          </p:nvPr>
        </p:nvSpPr>
        <p:spPr>
          <a:xfrm>
            <a:off x="1546783" y="3191128"/>
            <a:ext cx="4801368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3" name="Picture Placeholder 5"/>
          <p:cNvSpPr>
            <a:spLocks noGrp="1"/>
          </p:cNvSpPr>
          <p:nvPr>
            <p:ph type="pic" sz="quarter" idx="28" hasCustomPrompt="1"/>
          </p:nvPr>
        </p:nvSpPr>
        <p:spPr>
          <a:xfrm>
            <a:off x="725213" y="3178545"/>
            <a:ext cx="726483" cy="584200"/>
          </a:xfrm>
          <a:prstGeom prst="rect">
            <a:avLst/>
          </a:prstGeom>
          <a:solidFill>
            <a:schemeClr val="accent3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84" name="Text Placeholder 9"/>
          <p:cNvSpPr>
            <a:spLocks noGrp="1"/>
          </p:cNvSpPr>
          <p:nvPr>
            <p:ph type="body" sz="quarter" idx="29" hasCustomPrompt="1"/>
          </p:nvPr>
        </p:nvSpPr>
        <p:spPr>
          <a:xfrm>
            <a:off x="1546783" y="4034625"/>
            <a:ext cx="5493795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br>
              <a:rPr lang="en-US"/>
            </a:b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8" name="Picture Placeholder 5"/>
          <p:cNvSpPr>
            <a:spLocks noGrp="1"/>
          </p:cNvSpPr>
          <p:nvPr>
            <p:ph type="pic" sz="quarter" idx="30" hasCustomPrompt="1"/>
          </p:nvPr>
        </p:nvSpPr>
        <p:spPr>
          <a:xfrm>
            <a:off x="725213" y="4022042"/>
            <a:ext cx="726483" cy="584200"/>
          </a:xfrm>
          <a:prstGeom prst="rect">
            <a:avLst/>
          </a:prstGeom>
          <a:solidFill>
            <a:schemeClr val="tx1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93" name="Text Placeholder 9"/>
          <p:cNvSpPr>
            <a:spLocks noGrp="1"/>
          </p:cNvSpPr>
          <p:nvPr>
            <p:ph type="body" sz="quarter" idx="31" hasCustomPrompt="1"/>
          </p:nvPr>
        </p:nvSpPr>
        <p:spPr>
          <a:xfrm>
            <a:off x="1546783" y="4874169"/>
            <a:ext cx="5863011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94" name="Picture Placeholder 5"/>
          <p:cNvSpPr>
            <a:spLocks noGrp="1"/>
          </p:cNvSpPr>
          <p:nvPr>
            <p:ph type="pic" sz="quarter" idx="32" hasCustomPrompt="1"/>
          </p:nvPr>
        </p:nvSpPr>
        <p:spPr>
          <a:xfrm>
            <a:off x="725213" y="4861586"/>
            <a:ext cx="726483" cy="584200"/>
          </a:xfrm>
          <a:prstGeom prst="rect">
            <a:avLst/>
          </a:prstGeom>
          <a:solidFill>
            <a:schemeClr val="tx2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9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9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9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88693037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 Strategy Slide - 5 Circle Icon/Symbol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AA60490-AFBD-4A8C-89FB-A49BAD6482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9070317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AA60490-AFBD-4A8C-89FB-A49BAD648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49DCABD1-BEAA-4EEC-924B-C9FBB23FEA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cxnSp>
        <p:nvCxnSpPr>
          <p:cNvPr id="92" name="Straight Connector 91"/>
          <p:cNvCxnSpPr/>
          <p:nvPr userDrawn="1"/>
        </p:nvCxnSpPr>
        <p:spPr>
          <a:xfrm>
            <a:off x="2069540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/>
          <p:cNvCxnSpPr/>
          <p:nvPr userDrawn="1"/>
        </p:nvCxnSpPr>
        <p:spPr>
          <a:xfrm>
            <a:off x="4054401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2"/>
            <a:ext cx="9966660" cy="651750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FIVE CIRCLE ICON/SYMBOLS WITH BULLET POINTS.</a:t>
            </a:r>
          </a:p>
        </p:txBody>
      </p:sp>
      <p:sp>
        <p:nvSpPr>
          <p:cNvPr id="80" name="Oval 79"/>
          <p:cNvSpPr/>
          <p:nvPr userDrawn="1"/>
        </p:nvSpPr>
        <p:spPr>
          <a:xfrm>
            <a:off x="1401477" y="1653169"/>
            <a:ext cx="1341345" cy="1341345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85" name="TextBox 84"/>
          <p:cNvSpPr txBox="1"/>
          <p:nvPr userDrawn="1"/>
        </p:nvSpPr>
        <p:spPr>
          <a:xfrm>
            <a:off x="1636403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1</a:t>
            </a:r>
          </a:p>
        </p:txBody>
      </p:sp>
      <p:pic>
        <p:nvPicPr>
          <p:cNvPr id="86" name="Picture 85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7580" y="2424127"/>
            <a:ext cx="575529" cy="383686"/>
          </a:xfrm>
          <a:prstGeom prst="rect">
            <a:avLst/>
          </a:prstGeom>
        </p:spPr>
      </p:pic>
      <p:sp>
        <p:nvSpPr>
          <p:cNvPr id="10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1232815" y="3954522"/>
            <a:ext cx="1677679" cy="1988672"/>
          </a:xfrm>
          <a:prstGeom prst="rect">
            <a:avLst/>
          </a:prstGeom>
        </p:spPr>
        <p:txBody>
          <a:bodyPr lIns="0" tIns="0" rIns="0" bIns="0"/>
          <a:lstStyle>
            <a:lvl1pPr marL="139697" indent="-139697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106" name="Oval 105"/>
          <p:cNvSpPr/>
          <p:nvPr userDrawn="1"/>
        </p:nvSpPr>
        <p:spPr>
          <a:xfrm>
            <a:off x="3386338" y="1653169"/>
            <a:ext cx="1341345" cy="1341345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7" name="TextBox 106"/>
          <p:cNvSpPr txBox="1"/>
          <p:nvPr userDrawn="1"/>
        </p:nvSpPr>
        <p:spPr>
          <a:xfrm>
            <a:off x="3621264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111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217678" y="3954522"/>
            <a:ext cx="1677679" cy="1988672"/>
          </a:xfrm>
          <a:prstGeom prst="rect">
            <a:avLst/>
          </a:prstGeom>
        </p:spPr>
        <p:txBody>
          <a:bodyPr lIns="0" tIns="0" rIns="0" bIns="0"/>
          <a:lstStyle>
            <a:lvl1pPr marL="139697" indent="-139697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99" name="Picture 98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15854" y="2409764"/>
            <a:ext cx="277095" cy="512721"/>
          </a:xfrm>
          <a:prstGeom prst="rect">
            <a:avLst/>
          </a:prstGeom>
        </p:spPr>
      </p:pic>
      <p:cxnSp>
        <p:nvCxnSpPr>
          <p:cNvPr id="112" name="Straight Connector 111"/>
          <p:cNvCxnSpPr/>
          <p:nvPr userDrawn="1"/>
        </p:nvCxnSpPr>
        <p:spPr>
          <a:xfrm>
            <a:off x="6044324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Oval 112"/>
          <p:cNvSpPr/>
          <p:nvPr userDrawn="1"/>
        </p:nvSpPr>
        <p:spPr>
          <a:xfrm>
            <a:off x="5376261" y="1653169"/>
            <a:ext cx="1341345" cy="1341345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4" name="TextBox 113"/>
          <p:cNvSpPr txBox="1"/>
          <p:nvPr userDrawn="1"/>
        </p:nvSpPr>
        <p:spPr>
          <a:xfrm>
            <a:off x="5611187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11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207599" y="3954522"/>
            <a:ext cx="1677679" cy="1988672"/>
          </a:xfrm>
          <a:prstGeom prst="rect">
            <a:avLst/>
          </a:prstGeom>
        </p:spPr>
        <p:txBody>
          <a:bodyPr lIns="0" tIns="0" rIns="0" bIns="0"/>
          <a:lstStyle>
            <a:lvl1pPr marL="139697" indent="-139697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98" name="Picture 97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75510" y="2370311"/>
            <a:ext cx="537625" cy="472590"/>
          </a:xfrm>
          <a:prstGeom prst="rect">
            <a:avLst/>
          </a:prstGeom>
        </p:spPr>
      </p:pic>
      <p:cxnSp>
        <p:nvCxnSpPr>
          <p:cNvPr id="118" name="Straight Connector 117"/>
          <p:cNvCxnSpPr/>
          <p:nvPr userDrawn="1"/>
        </p:nvCxnSpPr>
        <p:spPr>
          <a:xfrm>
            <a:off x="8017848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Oval 118"/>
          <p:cNvSpPr/>
          <p:nvPr userDrawn="1"/>
        </p:nvSpPr>
        <p:spPr>
          <a:xfrm>
            <a:off x="7349785" y="1653169"/>
            <a:ext cx="1341345" cy="1341345"/>
          </a:xfrm>
          <a:prstGeom prst="ellipse">
            <a:avLst/>
          </a:prstGeom>
          <a:solidFill>
            <a:schemeClr val="tx1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20" name="TextBox 119"/>
          <p:cNvSpPr txBox="1"/>
          <p:nvPr userDrawn="1"/>
        </p:nvSpPr>
        <p:spPr>
          <a:xfrm>
            <a:off x="7584711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4</a:t>
            </a:r>
          </a:p>
        </p:txBody>
      </p:sp>
      <p:sp>
        <p:nvSpPr>
          <p:cNvPr id="122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181123" y="3954522"/>
            <a:ext cx="1677679" cy="1988672"/>
          </a:xfrm>
          <a:prstGeom prst="rect">
            <a:avLst/>
          </a:prstGeom>
        </p:spPr>
        <p:txBody>
          <a:bodyPr lIns="0" tIns="0" rIns="0" bIns="0"/>
          <a:lstStyle>
            <a:lvl1pPr marL="139697" indent="-139697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100" name="Picture 99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1757" y="2406174"/>
            <a:ext cx="432179" cy="410414"/>
          </a:xfrm>
          <a:prstGeom prst="rect">
            <a:avLst/>
          </a:prstGeom>
        </p:spPr>
      </p:pic>
      <p:cxnSp>
        <p:nvCxnSpPr>
          <p:cNvPr id="124" name="Straight Connector 123"/>
          <p:cNvCxnSpPr/>
          <p:nvPr userDrawn="1"/>
        </p:nvCxnSpPr>
        <p:spPr>
          <a:xfrm>
            <a:off x="9988761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Oval 124"/>
          <p:cNvSpPr/>
          <p:nvPr userDrawn="1"/>
        </p:nvSpPr>
        <p:spPr>
          <a:xfrm>
            <a:off x="9320698" y="1653169"/>
            <a:ext cx="1341345" cy="1341345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26" name="TextBox 125"/>
          <p:cNvSpPr txBox="1"/>
          <p:nvPr userDrawn="1"/>
        </p:nvSpPr>
        <p:spPr>
          <a:xfrm>
            <a:off x="9555624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5</a:t>
            </a:r>
          </a:p>
        </p:txBody>
      </p:sp>
      <p:sp>
        <p:nvSpPr>
          <p:cNvPr id="12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52038" y="3954522"/>
            <a:ext cx="1677679" cy="1988672"/>
          </a:xfrm>
          <a:prstGeom prst="rect">
            <a:avLst/>
          </a:prstGeom>
        </p:spPr>
        <p:txBody>
          <a:bodyPr lIns="0" tIns="0" rIns="0" bIns="0"/>
          <a:lstStyle>
            <a:lvl1pPr marL="139697" indent="-139697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130" name="Picture 129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0670" y="2430632"/>
            <a:ext cx="596183" cy="340676"/>
          </a:xfrm>
          <a:prstGeom prst="rect">
            <a:avLst/>
          </a:prstGeom>
        </p:spPr>
      </p:pic>
      <p:sp>
        <p:nvSpPr>
          <p:cNvPr id="42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1232817" y="3524598"/>
            <a:ext cx="1672617" cy="396240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PEOPLE</a:t>
            </a:r>
          </a:p>
        </p:txBody>
      </p:sp>
      <p:sp>
        <p:nvSpPr>
          <p:cNvPr id="43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3215561" y="3524598"/>
            <a:ext cx="1672617" cy="396240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PLACE</a:t>
            </a:r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5208013" y="3524598"/>
            <a:ext cx="1672617" cy="396240"/>
          </a:xfrm>
          <a:prstGeom prst="rect">
            <a:avLst/>
          </a:prstGeo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TIME</a:t>
            </a:r>
          </a:p>
        </p:txBody>
      </p:sp>
      <p:sp>
        <p:nvSpPr>
          <p:cNvPr id="45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7176318" y="3524598"/>
            <a:ext cx="1672617" cy="396240"/>
          </a:xfrm>
          <a:prstGeom prst="rect">
            <a:avLst/>
          </a:prstGeo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RESULTS</a:t>
            </a:r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28" hasCustomPrompt="1"/>
          </p:nvPr>
        </p:nvSpPr>
        <p:spPr>
          <a:xfrm>
            <a:off x="9144624" y="3524598"/>
            <a:ext cx="1672617" cy="396240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FUTURE</a:t>
            </a:r>
          </a:p>
        </p:txBody>
      </p:sp>
      <p:sp>
        <p:nvSpPr>
          <p:cNvPr id="3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89016224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. Strategy Slide - 3 Numbered Boxes with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112838E-A9A3-429F-9DAF-B1CB53B26D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7201875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112838E-A9A3-429F-9DAF-B1CB53B26D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EC6C8472-1441-4E04-8D06-5FFE59E7071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2"/>
            <a:ext cx="9966660" cy="6558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NUMBERED BOXES WITH TEXT/BULLET POINTS.</a:t>
            </a:r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304418" y="2323839"/>
            <a:ext cx="2737495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073149" y="1933792"/>
            <a:ext cx="2968763" cy="323086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841882" y="1850814"/>
            <a:ext cx="462537" cy="4625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841882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923918" y="2323839"/>
            <a:ext cx="2737495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49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4692649" y="1933792"/>
            <a:ext cx="2968763" cy="323086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4461382" y="1850814"/>
            <a:ext cx="462537" cy="462537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1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461382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543418" y="2323839"/>
            <a:ext cx="2737495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55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8312149" y="1933792"/>
            <a:ext cx="2968763" cy="323086"/>
          </a:xfrm>
          <a:prstGeom prst="rect">
            <a:avLst/>
          </a:prstGeom>
          <a:solidFill>
            <a:schemeClr val="accent3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6" name="Oval 55"/>
          <p:cNvSpPr/>
          <p:nvPr userDrawn="1"/>
        </p:nvSpPr>
        <p:spPr>
          <a:xfrm>
            <a:off x="8080882" y="1850814"/>
            <a:ext cx="462537" cy="46253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7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8080882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15139456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 Strategy Slide - 6 Numbered Boxes with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A6332E3-50CE-44E3-83B9-01CBCE3225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3270311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A6332E3-50CE-44E3-83B9-01CBCE3225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029B26ED-7F28-492C-9DAD-E29F57B801D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2"/>
            <a:ext cx="9966660" cy="6431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NUMBERED BOXES WITH TEXT.</a:t>
            </a:r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304418" y="2323841"/>
            <a:ext cx="2737495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.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073149" y="1933792"/>
            <a:ext cx="2968763" cy="323086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841882" y="1850814"/>
            <a:ext cx="462537" cy="4625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841882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923918" y="2323841"/>
            <a:ext cx="2737495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</a:t>
            </a:r>
            <a:endParaRPr lang="en-US"/>
          </a:p>
        </p:txBody>
      </p:sp>
      <p:sp>
        <p:nvSpPr>
          <p:cNvPr id="49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4692649" y="1933792"/>
            <a:ext cx="2968763" cy="323086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4461382" y="1850814"/>
            <a:ext cx="462537" cy="462537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1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461382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543418" y="2323841"/>
            <a:ext cx="2737495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55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8312149" y="1933792"/>
            <a:ext cx="2968763" cy="323086"/>
          </a:xfrm>
          <a:prstGeom prst="rect">
            <a:avLst/>
          </a:prstGeom>
          <a:solidFill>
            <a:schemeClr val="accent3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6" name="Oval 55"/>
          <p:cNvSpPr/>
          <p:nvPr userDrawn="1"/>
        </p:nvSpPr>
        <p:spPr>
          <a:xfrm>
            <a:off x="8080882" y="1850814"/>
            <a:ext cx="462537" cy="46253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7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8080882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1304418" y="4559041"/>
            <a:ext cx="2737495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</a:t>
            </a:r>
            <a:endParaRPr lang="en-US"/>
          </a:p>
        </p:txBody>
      </p:sp>
      <p:sp>
        <p:nvSpPr>
          <p:cNvPr id="22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1073149" y="4168992"/>
            <a:ext cx="2968763" cy="323086"/>
          </a:xfrm>
          <a:prstGeom prst="rect">
            <a:avLst/>
          </a:prstGeom>
          <a:solidFill>
            <a:schemeClr val="accent3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23" name="Oval 22"/>
          <p:cNvSpPr/>
          <p:nvPr userDrawn="1"/>
        </p:nvSpPr>
        <p:spPr>
          <a:xfrm>
            <a:off x="841882" y="4086016"/>
            <a:ext cx="462537" cy="46253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841882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4923918" y="4559041"/>
            <a:ext cx="2737495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4692649" y="4168992"/>
            <a:ext cx="2968763" cy="323086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27" name="Oval 26"/>
          <p:cNvSpPr/>
          <p:nvPr userDrawn="1"/>
        </p:nvSpPr>
        <p:spPr>
          <a:xfrm>
            <a:off x="4461382" y="4086016"/>
            <a:ext cx="462537" cy="462537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8" name="Text Placeholder 10"/>
          <p:cNvSpPr>
            <a:spLocks noGrp="1"/>
          </p:cNvSpPr>
          <p:nvPr>
            <p:ph type="body" sz="quarter" idx="29" hasCustomPrompt="1"/>
          </p:nvPr>
        </p:nvSpPr>
        <p:spPr>
          <a:xfrm>
            <a:off x="4461382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30" hasCustomPrompt="1"/>
          </p:nvPr>
        </p:nvSpPr>
        <p:spPr>
          <a:xfrm>
            <a:off x="8543418" y="4559041"/>
            <a:ext cx="2737495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.</a:t>
            </a:r>
          </a:p>
        </p:txBody>
      </p:sp>
      <p:sp>
        <p:nvSpPr>
          <p:cNvPr id="30" name="Text Placeholder 8"/>
          <p:cNvSpPr>
            <a:spLocks noGrp="1"/>
          </p:cNvSpPr>
          <p:nvPr>
            <p:ph type="body" sz="quarter" idx="31" hasCustomPrompt="1"/>
          </p:nvPr>
        </p:nvSpPr>
        <p:spPr>
          <a:xfrm>
            <a:off x="8312149" y="4168992"/>
            <a:ext cx="2968763" cy="323086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31" name="Oval 30"/>
          <p:cNvSpPr/>
          <p:nvPr userDrawn="1"/>
        </p:nvSpPr>
        <p:spPr>
          <a:xfrm>
            <a:off x="8080882" y="4086016"/>
            <a:ext cx="462537" cy="4625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2" name="Text Placeholder 10"/>
          <p:cNvSpPr>
            <a:spLocks noGrp="1"/>
          </p:cNvSpPr>
          <p:nvPr>
            <p:ph type="body" sz="quarter" idx="32" hasCustomPrompt="1"/>
          </p:nvPr>
        </p:nvSpPr>
        <p:spPr>
          <a:xfrm>
            <a:off x="8080882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3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88820541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 Strategy Slide - Intro Text, Bullets and On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671C392B-9772-4449-B274-C8F019BF84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7224566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671C392B-9772-4449-B274-C8F019BF84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26E74A4A-0F3E-4A8E-B0F4-620BE8F88A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548877" y="1568109"/>
            <a:ext cx="4324035" cy="4411663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4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ONE GRAPH/CHART AND TEXT</a:t>
            </a:r>
          </a:p>
        </p:txBody>
      </p:sp>
      <p:sp>
        <p:nvSpPr>
          <p:cNvPr id="4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3" y="1553303"/>
            <a:ext cx="6515059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46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3" y="2332849"/>
            <a:ext cx="6513787" cy="3646923"/>
          </a:xfrm>
          <a:prstGeom prst="rect">
            <a:avLst/>
          </a:prstGeom>
        </p:spPr>
        <p:txBody>
          <a:bodyPr lIns="0" tIns="0" rIns="0" bIns="0"/>
          <a:lstStyle>
            <a:lvl1pPr marL="134935" indent="-134935">
              <a:tabLst/>
              <a:defRPr sz="1400" baseline="0"/>
            </a:lvl1pPr>
            <a:lvl2pPr marL="314317" indent="-136522">
              <a:tabLst/>
              <a:defRPr sz="1200" baseline="0"/>
            </a:lvl2pPr>
            <a:lvl3pPr marL="450839" indent="-136522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7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70212422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. Strategy Slide - 2 Charts and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C864BA00-0CA2-427F-BFA8-D5F899DEBB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7386466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C864BA00-0CA2-427F-BFA8-D5F899DEBB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6105DD77-FB08-49F6-A436-E8CD9C941F4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WO GRAPHS/CHARTS AND TEXT</a:t>
            </a:r>
          </a:p>
        </p:txBody>
      </p:sp>
      <p:sp>
        <p:nvSpPr>
          <p:cNvPr id="3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3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36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3" y="1876659"/>
            <a:ext cx="511678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697" indent="-139697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3" y="1553303"/>
            <a:ext cx="511678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45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6198549" y="1876659"/>
            <a:ext cx="511678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198549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697" indent="-139697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198549" y="1553303"/>
            <a:ext cx="511678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402304132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. Strategy Slide - 3 Charts and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62E4A0BD-9236-4560-A764-035A2E194F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236330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62E4A0BD-9236-4560-A764-035A2E194F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EA18DB26-052D-48CF-8245-7E2537F0F96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2"/>
            <a:ext cx="9966660" cy="61225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GRAPHS/CHART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40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5" y="1876659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4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697" indent="-139697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5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6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4379235" y="1876659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379234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697" indent="-139697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5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9" name="Chart Placeholder 4"/>
          <p:cNvSpPr>
            <a:spLocks noGrp="1"/>
          </p:cNvSpPr>
          <p:nvPr>
            <p:ph type="chart" sz="quarter" idx="18" hasCustomPrompt="1"/>
          </p:nvPr>
        </p:nvSpPr>
        <p:spPr>
          <a:xfrm>
            <a:off x="8046320" y="1876659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8046320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697" indent="-139697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05149186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. Strategy Slide - 6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594DDD6B-56B7-4BF5-B401-0BE44C4C18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911289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594DDD6B-56B7-4BF5-B401-0BE44C4C18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F61879BC-2A52-426E-B20E-85F088398DF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4"/>
            <a:ext cx="9966660" cy="62362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GRAPHS/CHART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40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5" y="1876658"/>
            <a:ext cx="3167517" cy="16417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5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6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4379235" y="1876659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5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9" name="Chart Placeholder 4"/>
          <p:cNvSpPr>
            <a:spLocks noGrp="1"/>
          </p:cNvSpPr>
          <p:nvPr>
            <p:ph type="chart" sz="quarter" idx="18" hasCustomPrompt="1"/>
          </p:nvPr>
        </p:nvSpPr>
        <p:spPr>
          <a:xfrm>
            <a:off x="8046320" y="1876659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8" name="Chart Placeholder 4"/>
          <p:cNvSpPr>
            <a:spLocks noGrp="1"/>
          </p:cNvSpPr>
          <p:nvPr>
            <p:ph type="chart" sz="quarter" idx="21" hasCustomPrompt="1"/>
          </p:nvPr>
        </p:nvSpPr>
        <p:spPr>
          <a:xfrm>
            <a:off x="725215" y="4293286"/>
            <a:ext cx="3167517" cy="16417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725215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23" hasCustomPrompt="1"/>
          </p:nvPr>
        </p:nvSpPr>
        <p:spPr>
          <a:xfrm>
            <a:off x="4379235" y="429328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79235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2" name="Chart Placeholder 4"/>
          <p:cNvSpPr>
            <a:spLocks noGrp="1"/>
          </p:cNvSpPr>
          <p:nvPr>
            <p:ph type="chart" sz="quarter" idx="25" hasCustomPrompt="1"/>
          </p:nvPr>
        </p:nvSpPr>
        <p:spPr>
          <a:xfrm>
            <a:off x="8046320" y="429328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8046320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725215" y="3735977"/>
            <a:ext cx="10488623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73863376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. Strategy Slide - Table 9 Rows /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F3115B7E-4A1F-4068-94A8-022DF01919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597449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416" imgH="416" progId="TCLayout.ActiveDocument.1">
                  <p:embed/>
                </p:oleObj>
              </mc:Choice>
              <mc:Fallback>
                <p:oleObj name="Diapositiva de think-cell" r:id="rId5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F3115B7E-4A1F-4068-94A8-022DF01919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CD5BEB3D-5E62-49D0-934F-D286C65AED6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4"/>
            <a:ext cx="9966660" cy="65349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ABLE 9 ROWS AND 9 COLUMNS</a:t>
            </a:r>
          </a:p>
        </p:txBody>
      </p:sp>
      <p:graphicFrame>
        <p:nvGraphicFramePr>
          <p:cNvPr id="33" name="Group 3"/>
          <p:cNvGraphicFramePr>
            <a:graphicFrameLocks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21684452"/>
              </p:ext>
            </p:extLst>
          </p:nvPr>
        </p:nvGraphicFramePr>
        <p:xfrm>
          <a:off x="783771" y="1534944"/>
          <a:ext cx="10377820" cy="4317034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16969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51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851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851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8511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8511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8511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8511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08511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33161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1" i="0" u="none" strike="noStrike" kern="1200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34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35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6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2081386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 Strategy Slide - 5 Circle Icon/Symbol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AA60490-AFBD-4A8C-89FB-A49BAD6482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53436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AA60490-AFBD-4A8C-89FB-A49BAD648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49DCABD1-BEAA-4EEC-924B-C9FBB23FEA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cxnSp>
        <p:nvCxnSpPr>
          <p:cNvPr id="92" name="Straight Connector 91"/>
          <p:cNvCxnSpPr/>
          <p:nvPr userDrawn="1"/>
        </p:nvCxnSpPr>
        <p:spPr>
          <a:xfrm>
            <a:off x="2069538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/>
          <p:cNvCxnSpPr/>
          <p:nvPr userDrawn="1"/>
        </p:nvCxnSpPr>
        <p:spPr>
          <a:xfrm>
            <a:off x="4054400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1750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FIVE CIRCLE ICON/SYMBOLS WITH BULLET POINTS.</a:t>
            </a:r>
          </a:p>
        </p:txBody>
      </p:sp>
      <p:sp>
        <p:nvSpPr>
          <p:cNvPr id="80" name="Oval 79"/>
          <p:cNvSpPr/>
          <p:nvPr userDrawn="1"/>
        </p:nvSpPr>
        <p:spPr>
          <a:xfrm>
            <a:off x="1401475" y="1653167"/>
            <a:ext cx="1341345" cy="1341345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85" name="TextBox 84"/>
          <p:cNvSpPr txBox="1"/>
          <p:nvPr userDrawn="1"/>
        </p:nvSpPr>
        <p:spPr>
          <a:xfrm>
            <a:off x="1636402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1</a:t>
            </a:r>
          </a:p>
        </p:txBody>
      </p:sp>
      <p:pic>
        <p:nvPicPr>
          <p:cNvPr id="86" name="Picture 85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7578" y="2424127"/>
            <a:ext cx="575529" cy="383686"/>
          </a:xfrm>
          <a:prstGeom prst="rect">
            <a:avLst/>
          </a:prstGeom>
        </p:spPr>
      </p:pic>
      <p:sp>
        <p:nvSpPr>
          <p:cNvPr id="10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1232815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C106E273-2F29-4664-B35A-DBD08D962A48}" type="datetime2">
              <a:rPr lang="en-US" smtClean="0"/>
              <a:t>Sunday, October 19, 2025</a:t>
            </a:fld>
            <a:endParaRPr lang="en-US"/>
          </a:p>
        </p:txBody>
      </p:sp>
      <p:sp>
        <p:nvSpPr>
          <p:cNvPr id="106" name="Oval 105"/>
          <p:cNvSpPr/>
          <p:nvPr userDrawn="1"/>
        </p:nvSpPr>
        <p:spPr>
          <a:xfrm>
            <a:off x="3386337" y="1653167"/>
            <a:ext cx="1341345" cy="1341345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7" name="TextBox 106"/>
          <p:cNvSpPr txBox="1"/>
          <p:nvPr userDrawn="1"/>
        </p:nvSpPr>
        <p:spPr>
          <a:xfrm>
            <a:off x="3621264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111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217677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99" name="Picture 98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15852" y="2409762"/>
            <a:ext cx="277095" cy="512721"/>
          </a:xfrm>
          <a:prstGeom prst="rect">
            <a:avLst/>
          </a:prstGeom>
        </p:spPr>
      </p:pic>
      <p:cxnSp>
        <p:nvCxnSpPr>
          <p:cNvPr id="112" name="Straight Connector 111"/>
          <p:cNvCxnSpPr/>
          <p:nvPr userDrawn="1"/>
        </p:nvCxnSpPr>
        <p:spPr>
          <a:xfrm>
            <a:off x="6044322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Oval 112"/>
          <p:cNvSpPr/>
          <p:nvPr userDrawn="1"/>
        </p:nvSpPr>
        <p:spPr>
          <a:xfrm>
            <a:off x="5376259" y="1653167"/>
            <a:ext cx="1341345" cy="1341345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4" name="TextBox 113"/>
          <p:cNvSpPr txBox="1"/>
          <p:nvPr userDrawn="1"/>
        </p:nvSpPr>
        <p:spPr>
          <a:xfrm>
            <a:off x="5611186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11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207599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98" name="Picture 97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75509" y="2370311"/>
            <a:ext cx="537625" cy="472590"/>
          </a:xfrm>
          <a:prstGeom prst="rect">
            <a:avLst/>
          </a:prstGeom>
        </p:spPr>
      </p:pic>
      <p:cxnSp>
        <p:nvCxnSpPr>
          <p:cNvPr id="118" name="Straight Connector 117"/>
          <p:cNvCxnSpPr/>
          <p:nvPr userDrawn="1"/>
        </p:nvCxnSpPr>
        <p:spPr>
          <a:xfrm>
            <a:off x="8017846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Oval 118"/>
          <p:cNvSpPr/>
          <p:nvPr userDrawn="1"/>
        </p:nvSpPr>
        <p:spPr>
          <a:xfrm>
            <a:off x="7349783" y="1653167"/>
            <a:ext cx="1341345" cy="1341345"/>
          </a:xfrm>
          <a:prstGeom prst="ellipse">
            <a:avLst/>
          </a:prstGeom>
          <a:solidFill>
            <a:schemeClr val="tx1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20" name="TextBox 119"/>
          <p:cNvSpPr txBox="1"/>
          <p:nvPr userDrawn="1"/>
        </p:nvSpPr>
        <p:spPr>
          <a:xfrm>
            <a:off x="7584710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4</a:t>
            </a:r>
          </a:p>
        </p:txBody>
      </p:sp>
      <p:sp>
        <p:nvSpPr>
          <p:cNvPr id="122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181123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100" name="Picture 99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1756" y="2406174"/>
            <a:ext cx="432179" cy="410414"/>
          </a:xfrm>
          <a:prstGeom prst="rect">
            <a:avLst/>
          </a:prstGeom>
        </p:spPr>
      </p:pic>
      <p:cxnSp>
        <p:nvCxnSpPr>
          <p:cNvPr id="124" name="Straight Connector 123"/>
          <p:cNvCxnSpPr/>
          <p:nvPr userDrawn="1"/>
        </p:nvCxnSpPr>
        <p:spPr>
          <a:xfrm>
            <a:off x="9988760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Oval 124"/>
          <p:cNvSpPr/>
          <p:nvPr userDrawn="1"/>
        </p:nvSpPr>
        <p:spPr>
          <a:xfrm>
            <a:off x="9320697" y="1653167"/>
            <a:ext cx="1341345" cy="1341345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26" name="TextBox 125"/>
          <p:cNvSpPr txBox="1"/>
          <p:nvPr userDrawn="1"/>
        </p:nvSpPr>
        <p:spPr>
          <a:xfrm>
            <a:off x="9555624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5</a:t>
            </a:r>
          </a:p>
        </p:txBody>
      </p:sp>
      <p:sp>
        <p:nvSpPr>
          <p:cNvPr id="12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52037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130" name="Picture 129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0669" y="2430632"/>
            <a:ext cx="596182" cy="340676"/>
          </a:xfrm>
          <a:prstGeom prst="rect">
            <a:avLst/>
          </a:prstGeom>
        </p:spPr>
      </p:pic>
      <p:sp>
        <p:nvSpPr>
          <p:cNvPr id="42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1232815" y="3524598"/>
            <a:ext cx="1672617" cy="396240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PEOPLE</a:t>
            </a:r>
          </a:p>
        </p:txBody>
      </p:sp>
      <p:sp>
        <p:nvSpPr>
          <p:cNvPr id="43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3215559" y="3524598"/>
            <a:ext cx="1672617" cy="396240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PLACE</a:t>
            </a:r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5208012" y="3524598"/>
            <a:ext cx="1672617" cy="396240"/>
          </a:xfrm>
          <a:prstGeom prst="rect">
            <a:avLst/>
          </a:prstGeo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TIME</a:t>
            </a:r>
          </a:p>
        </p:txBody>
      </p:sp>
      <p:sp>
        <p:nvSpPr>
          <p:cNvPr id="45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7176317" y="3524598"/>
            <a:ext cx="1672617" cy="396240"/>
          </a:xfrm>
          <a:prstGeom prst="rect">
            <a:avLst/>
          </a:prstGeo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RESULTS</a:t>
            </a:r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28" hasCustomPrompt="1"/>
          </p:nvPr>
        </p:nvSpPr>
        <p:spPr>
          <a:xfrm>
            <a:off x="9144622" y="3524598"/>
            <a:ext cx="1672617" cy="396240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FUTURE</a:t>
            </a:r>
          </a:p>
        </p:txBody>
      </p:sp>
      <p:sp>
        <p:nvSpPr>
          <p:cNvPr id="3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60646787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. Strategy Slide - Table 4 Rows /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E879D304-3645-4A8A-A35F-4B024430F4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5847409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416" imgH="416" progId="TCLayout.ActiveDocument.1">
                  <p:embed/>
                </p:oleObj>
              </mc:Choice>
              <mc:Fallback>
                <p:oleObj name="Diapositiva de think-cell" r:id="rId5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E879D304-3645-4A8A-A35F-4B024430F4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5EAFE1C7-DBDD-47B0-A3D2-F2F9F7AD560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4"/>
            <a:ext cx="9966660" cy="62511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ABLE 3 COLUMNS 4 ROWS</a:t>
            </a:r>
          </a:p>
        </p:txBody>
      </p:sp>
      <p:graphicFrame>
        <p:nvGraphicFramePr>
          <p:cNvPr id="34" name="Group 4"/>
          <p:cNvGraphicFramePr>
            <a:graphicFrameLocks noGrp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46252196"/>
              </p:ext>
            </p:extLst>
          </p:nvPr>
        </p:nvGraphicFramePr>
        <p:xfrm>
          <a:off x="954157" y="1584127"/>
          <a:ext cx="10207430" cy="4260849"/>
        </p:xfrm>
        <a:graphic>
          <a:graphicData uri="http://schemas.openxmlformats.org/drawingml/2006/table">
            <a:tbl>
              <a:tblPr/>
              <a:tblGrid>
                <a:gridCol w="11565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169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169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169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1942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endParaRPr kumimoji="0" lang="en-US" sz="1100" b="0" i="1" u="none" strike="noStrike" cap="none" normalizeH="0" baseline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</a:endParaRP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71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..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9141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2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9383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3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8898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4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3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2514166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. Strategy Slide - 1 Tab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EC870B3-50A2-46BE-AA7B-4A936D9F10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7141054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EC870B3-50A2-46BE-AA7B-4A936D9F10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20DBCFD6-6AB0-446C-ABE3-7A9D917775F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4" hasCustomPrompt="1"/>
          </p:nvPr>
        </p:nvSpPr>
        <p:spPr>
          <a:xfrm>
            <a:off x="7547605" y="1568109"/>
            <a:ext cx="4325307" cy="441166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2"/>
            <a:ext cx="9966660" cy="62033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ONE TABLE AND TEXT</a:t>
            </a:r>
          </a:p>
        </p:txBody>
      </p:sp>
      <p:sp>
        <p:nvSpPr>
          <p:cNvPr id="4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3" y="1553303"/>
            <a:ext cx="6515059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46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3" y="2332849"/>
            <a:ext cx="6513787" cy="3646923"/>
          </a:xfrm>
          <a:prstGeom prst="rect">
            <a:avLst/>
          </a:prstGeom>
        </p:spPr>
        <p:txBody>
          <a:bodyPr lIns="0" tIns="0" rIns="0" bIns="0"/>
          <a:lstStyle>
            <a:lvl1pPr marL="134935" indent="-134935">
              <a:tabLst/>
              <a:defRPr sz="1400" baseline="0"/>
            </a:lvl1pPr>
            <a:lvl2pPr marL="314317" indent="-136522">
              <a:tabLst/>
              <a:defRPr sz="1200" baseline="0"/>
            </a:lvl2pPr>
            <a:lvl3pPr marL="450839" indent="-136522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7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73386861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. Strategy Slide - 2 Tabl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38326FD8-10A6-48A9-BAFF-C691458C18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9108936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38326FD8-10A6-48A9-BAFF-C691458C18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10934FCA-74B9-4B28-ACD0-8909FD502F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WO TABLES AND TEXT</a:t>
            </a:r>
          </a:p>
        </p:txBody>
      </p:sp>
      <p:sp>
        <p:nvSpPr>
          <p:cNvPr id="3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3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697" indent="-139697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3" y="1553303"/>
            <a:ext cx="511678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4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198549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697" indent="-139697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198549" y="1553303"/>
            <a:ext cx="511678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15" name="Table Placeholder 5"/>
          <p:cNvSpPr>
            <a:spLocks noGrp="1"/>
          </p:cNvSpPr>
          <p:nvPr>
            <p:ph type="tbl" sz="quarter" idx="21" hasCustomPrompt="1"/>
          </p:nvPr>
        </p:nvSpPr>
        <p:spPr>
          <a:xfrm>
            <a:off x="725213" y="1876659"/>
            <a:ext cx="511678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6" name="Table Placeholder 5"/>
          <p:cNvSpPr>
            <a:spLocks noGrp="1"/>
          </p:cNvSpPr>
          <p:nvPr>
            <p:ph type="tbl" sz="quarter" idx="22" hasCustomPrompt="1"/>
          </p:nvPr>
        </p:nvSpPr>
        <p:spPr>
          <a:xfrm>
            <a:off x="6198549" y="1876659"/>
            <a:ext cx="511678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71930008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. Strategy Slide - 3 Tabl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0F003DE-FE9D-4ABD-A7B3-2652A1F34C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646617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40F003DE-FE9D-4ABD-A7B3-2652A1F34C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118D3152-AE5F-4DB1-B0FA-38D86D0CF73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TABLE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4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697" indent="-139697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5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379234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697" indent="-139697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5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8046320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697" indent="-139697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8" name="Table Placeholder 5"/>
          <p:cNvSpPr>
            <a:spLocks noGrp="1"/>
          </p:cNvSpPr>
          <p:nvPr>
            <p:ph type="tbl" sz="quarter" idx="21" hasCustomPrompt="1"/>
          </p:nvPr>
        </p:nvSpPr>
        <p:spPr>
          <a:xfrm>
            <a:off x="725214" y="1876659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9" name="Table Placeholder 5"/>
          <p:cNvSpPr>
            <a:spLocks noGrp="1"/>
          </p:cNvSpPr>
          <p:nvPr>
            <p:ph type="tbl" sz="quarter" idx="22" hasCustomPrompt="1"/>
          </p:nvPr>
        </p:nvSpPr>
        <p:spPr>
          <a:xfrm>
            <a:off x="4379234" y="1876659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0" name="Table Placeholder 5"/>
          <p:cNvSpPr>
            <a:spLocks noGrp="1"/>
          </p:cNvSpPr>
          <p:nvPr>
            <p:ph type="tbl" sz="quarter" idx="23" hasCustomPrompt="1"/>
          </p:nvPr>
        </p:nvSpPr>
        <p:spPr>
          <a:xfrm>
            <a:off x="8033883" y="1876659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0170946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. Strategy Slide - 6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C665559F-26E3-4E68-91A4-C0766AD4AC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9717835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C665559F-26E3-4E68-91A4-C0766AD4AC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BF262311-8DB3-40D8-A862-1E2F520E5D4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4"/>
            <a:ext cx="9966660" cy="667971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TABLES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5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5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725215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79235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8046320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725215" y="3735977"/>
            <a:ext cx="10488623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able Placeholder 5"/>
          <p:cNvSpPr>
            <a:spLocks noGrp="1"/>
          </p:cNvSpPr>
          <p:nvPr>
            <p:ph type="tbl" sz="quarter" idx="27" hasCustomPrompt="1"/>
          </p:nvPr>
        </p:nvSpPr>
        <p:spPr>
          <a:xfrm>
            <a:off x="725214" y="1876659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5" name="Table Placeholder 5"/>
          <p:cNvSpPr>
            <a:spLocks noGrp="1"/>
          </p:cNvSpPr>
          <p:nvPr>
            <p:ph type="tbl" sz="quarter" idx="28" hasCustomPrompt="1"/>
          </p:nvPr>
        </p:nvSpPr>
        <p:spPr>
          <a:xfrm>
            <a:off x="4379234" y="1876659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6" name="Table Placeholder 5"/>
          <p:cNvSpPr>
            <a:spLocks noGrp="1"/>
          </p:cNvSpPr>
          <p:nvPr>
            <p:ph type="tbl" sz="quarter" idx="29" hasCustomPrompt="1"/>
          </p:nvPr>
        </p:nvSpPr>
        <p:spPr>
          <a:xfrm>
            <a:off x="8046320" y="1876659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7" name="Table Placeholder 5"/>
          <p:cNvSpPr>
            <a:spLocks noGrp="1"/>
          </p:cNvSpPr>
          <p:nvPr>
            <p:ph type="tbl" sz="quarter" idx="30" hasCustomPrompt="1"/>
          </p:nvPr>
        </p:nvSpPr>
        <p:spPr>
          <a:xfrm>
            <a:off x="725214" y="430180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8" name="Table Placeholder 5"/>
          <p:cNvSpPr>
            <a:spLocks noGrp="1"/>
          </p:cNvSpPr>
          <p:nvPr>
            <p:ph type="tbl" sz="quarter" idx="31" hasCustomPrompt="1"/>
          </p:nvPr>
        </p:nvSpPr>
        <p:spPr>
          <a:xfrm>
            <a:off x="4379234" y="430180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9" name="Table Placeholder 5"/>
          <p:cNvSpPr>
            <a:spLocks noGrp="1"/>
          </p:cNvSpPr>
          <p:nvPr>
            <p:ph type="tbl" sz="quarter" idx="32" hasCustomPrompt="1"/>
          </p:nvPr>
        </p:nvSpPr>
        <p:spPr>
          <a:xfrm>
            <a:off x="8046320" y="430180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09849792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. Strategy Slide - Process Closed Lo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AC899918-A378-45FD-8700-4E2340C899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3040731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AC899918-A378-45FD-8700-4E2340C899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9A197265-B4C3-4B35-9F5E-E038ABA274E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4"/>
            <a:ext cx="9966660" cy="63472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PROCESS CLOSED LOOP WITH INTRO TEXT AND BULLETS</a:t>
            </a:r>
          </a:p>
        </p:txBody>
      </p:sp>
      <p:grpSp>
        <p:nvGrpSpPr>
          <p:cNvPr id="33" name="Group 32"/>
          <p:cNvGrpSpPr/>
          <p:nvPr userDrawn="1"/>
        </p:nvGrpSpPr>
        <p:grpSpPr>
          <a:xfrm>
            <a:off x="6152743" y="1530828"/>
            <a:ext cx="5205413" cy="4535487"/>
            <a:chOff x="1905000" y="1773238"/>
            <a:chExt cx="5205413" cy="4535487"/>
          </a:xfrm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34" name="Freeform 33"/>
            <p:cNvSpPr>
              <a:spLocks/>
            </p:cNvSpPr>
            <p:nvPr/>
          </p:nvSpPr>
          <p:spPr bwMode="blackWhite">
            <a:xfrm>
              <a:off x="5729288" y="3216275"/>
              <a:ext cx="1381125" cy="1874838"/>
            </a:xfrm>
            <a:custGeom>
              <a:avLst/>
              <a:gdLst>
                <a:gd name="T0" fmla="*/ 461616 w 852"/>
                <a:gd name="T1" fmla="*/ 1873218 h 1157"/>
                <a:gd name="T2" fmla="*/ 1493670 w 852"/>
                <a:gd name="T3" fmla="*/ 1852152 h 1157"/>
                <a:gd name="T4" fmla="*/ 1172469 w 852"/>
                <a:gd name="T5" fmla="*/ 1672284 h 1157"/>
                <a:gd name="T6" fmla="*/ 1233901 w 852"/>
                <a:gd name="T7" fmla="*/ 1552372 h 1157"/>
                <a:gd name="T8" fmla="*/ 1286557 w 852"/>
                <a:gd name="T9" fmla="*/ 1429219 h 1157"/>
                <a:gd name="T10" fmla="*/ 1330437 w 852"/>
                <a:gd name="T11" fmla="*/ 1302826 h 1157"/>
                <a:gd name="T12" fmla="*/ 1360275 w 852"/>
                <a:gd name="T13" fmla="*/ 1171571 h 1157"/>
                <a:gd name="T14" fmla="*/ 1386603 w 852"/>
                <a:gd name="T15" fmla="*/ 1040316 h 1157"/>
                <a:gd name="T16" fmla="*/ 1400645 w 852"/>
                <a:gd name="T17" fmla="*/ 909061 h 1157"/>
                <a:gd name="T18" fmla="*/ 1405910 w 852"/>
                <a:gd name="T19" fmla="*/ 774566 h 1157"/>
                <a:gd name="T20" fmla="*/ 1400645 w 852"/>
                <a:gd name="T21" fmla="*/ 640070 h 1157"/>
                <a:gd name="T22" fmla="*/ 1384848 w 852"/>
                <a:gd name="T23" fmla="*/ 508815 h 1157"/>
                <a:gd name="T24" fmla="*/ 1360275 w 852"/>
                <a:gd name="T25" fmla="*/ 377560 h 1157"/>
                <a:gd name="T26" fmla="*/ 1326926 w 852"/>
                <a:gd name="T27" fmla="*/ 247926 h 1157"/>
                <a:gd name="T28" fmla="*/ 1281291 w 852"/>
                <a:gd name="T29" fmla="*/ 121532 h 1157"/>
                <a:gd name="T30" fmla="*/ 1230391 w 852"/>
                <a:gd name="T31" fmla="*/ 0 h 1157"/>
                <a:gd name="T32" fmla="*/ 956581 w 852"/>
                <a:gd name="T33" fmla="*/ 479647 h 1157"/>
                <a:gd name="T34" fmla="*/ 365080 w 852"/>
                <a:gd name="T35" fmla="*/ 471545 h 1157"/>
                <a:gd name="T36" fmla="*/ 389653 w 852"/>
                <a:gd name="T37" fmla="*/ 559048 h 1157"/>
                <a:gd name="T38" fmla="*/ 405450 w 852"/>
                <a:gd name="T39" fmla="*/ 651413 h 1157"/>
                <a:gd name="T40" fmla="*/ 412470 w 852"/>
                <a:gd name="T41" fmla="*/ 743777 h 1157"/>
                <a:gd name="T42" fmla="*/ 410715 w 852"/>
                <a:gd name="T43" fmla="*/ 832901 h 1157"/>
                <a:gd name="T44" fmla="*/ 401939 w 852"/>
                <a:gd name="T45" fmla="*/ 925266 h 1157"/>
                <a:gd name="T46" fmla="*/ 380877 w 852"/>
                <a:gd name="T47" fmla="*/ 1016010 h 1157"/>
                <a:gd name="T48" fmla="*/ 356304 w 852"/>
                <a:gd name="T49" fmla="*/ 1106754 h 1157"/>
                <a:gd name="T50" fmla="*/ 317690 w 852"/>
                <a:gd name="T51" fmla="*/ 1189396 h 1157"/>
                <a:gd name="T52" fmla="*/ 0 w 852"/>
                <a:gd name="T53" fmla="*/ 1017630 h 1157"/>
                <a:gd name="T54" fmla="*/ 461616 w 852"/>
                <a:gd name="T55" fmla="*/ 1873218 h 115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852"/>
                <a:gd name="T85" fmla="*/ 0 h 1157"/>
                <a:gd name="T86" fmla="*/ 852 w 852"/>
                <a:gd name="T87" fmla="*/ 1157 h 1157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852" h="1157">
                  <a:moveTo>
                    <a:pt x="263" y="1156"/>
                  </a:moveTo>
                  <a:lnTo>
                    <a:pt x="851" y="1143"/>
                  </a:lnTo>
                  <a:lnTo>
                    <a:pt x="668" y="1032"/>
                  </a:lnTo>
                  <a:lnTo>
                    <a:pt x="703" y="958"/>
                  </a:lnTo>
                  <a:lnTo>
                    <a:pt x="733" y="882"/>
                  </a:lnTo>
                  <a:lnTo>
                    <a:pt x="758" y="804"/>
                  </a:lnTo>
                  <a:lnTo>
                    <a:pt x="775" y="723"/>
                  </a:lnTo>
                  <a:lnTo>
                    <a:pt x="790" y="642"/>
                  </a:lnTo>
                  <a:lnTo>
                    <a:pt x="798" y="561"/>
                  </a:lnTo>
                  <a:lnTo>
                    <a:pt x="801" y="478"/>
                  </a:lnTo>
                  <a:lnTo>
                    <a:pt x="798" y="395"/>
                  </a:lnTo>
                  <a:lnTo>
                    <a:pt x="789" y="314"/>
                  </a:lnTo>
                  <a:lnTo>
                    <a:pt x="775" y="233"/>
                  </a:lnTo>
                  <a:lnTo>
                    <a:pt x="756" y="153"/>
                  </a:lnTo>
                  <a:lnTo>
                    <a:pt x="730" y="75"/>
                  </a:lnTo>
                  <a:lnTo>
                    <a:pt x="701" y="0"/>
                  </a:lnTo>
                  <a:lnTo>
                    <a:pt x="545" y="296"/>
                  </a:lnTo>
                  <a:lnTo>
                    <a:pt x="208" y="291"/>
                  </a:lnTo>
                  <a:lnTo>
                    <a:pt x="222" y="345"/>
                  </a:lnTo>
                  <a:lnTo>
                    <a:pt x="231" y="402"/>
                  </a:lnTo>
                  <a:lnTo>
                    <a:pt x="235" y="459"/>
                  </a:lnTo>
                  <a:lnTo>
                    <a:pt x="234" y="514"/>
                  </a:lnTo>
                  <a:lnTo>
                    <a:pt x="229" y="571"/>
                  </a:lnTo>
                  <a:lnTo>
                    <a:pt x="217" y="627"/>
                  </a:lnTo>
                  <a:lnTo>
                    <a:pt x="203" y="683"/>
                  </a:lnTo>
                  <a:lnTo>
                    <a:pt x="181" y="734"/>
                  </a:lnTo>
                  <a:lnTo>
                    <a:pt x="0" y="628"/>
                  </a:lnTo>
                  <a:lnTo>
                    <a:pt x="263" y="1156"/>
                  </a:lnTo>
                </a:path>
              </a:pathLst>
            </a:custGeom>
            <a:solidFill>
              <a:schemeClr val="accent3"/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blackWhite">
            <a:xfrm>
              <a:off x="5221288" y="2070100"/>
              <a:ext cx="1797050" cy="1557338"/>
            </a:xfrm>
            <a:custGeom>
              <a:avLst/>
              <a:gdLst>
                <a:gd name="T0" fmla="*/ 2147483647 w 1109"/>
                <a:gd name="T1" fmla="*/ 2147483647 h 962"/>
                <a:gd name="T2" fmla="*/ 2147483647 w 1109"/>
                <a:gd name="T3" fmla="*/ 2147483647 h 962"/>
                <a:gd name="T4" fmla="*/ 2147483647 w 1109"/>
                <a:gd name="T5" fmla="*/ 2147483647 h 962"/>
                <a:gd name="T6" fmla="*/ 2147483647 w 1109"/>
                <a:gd name="T7" fmla="*/ 2147483647 h 962"/>
                <a:gd name="T8" fmla="*/ 2147483647 w 1109"/>
                <a:gd name="T9" fmla="*/ 2147483647 h 962"/>
                <a:gd name="T10" fmla="*/ 2147483647 w 1109"/>
                <a:gd name="T11" fmla="*/ 2147483647 h 962"/>
                <a:gd name="T12" fmla="*/ 2147483647 w 1109"/>
                <a:gd name="T13" fmla="*/ 2147483647 h 962"/>
                <a:gd name="T14" fmla="*/ 2147483647 w 1109"/>
                <a:gd name="T15" fmla="*/ 2147483647 h 962"/>
                <a:gd name="T16" fmla="*/ 2147483647 w 1109"/>
                <a:gd name="T17" fmla="*/ 2147483647 h 962"/>
                <a:gd name="T18" fmla="*/ 2147483647 w 1109"/>
                <a:gd name="T19" fmla="*/ 2147483647 h 962"/>
                <a:gd name="T20" fmla="*/ 2147483647 w 1109"/>
                <a:gd name="T21" fmla="*/ 2147483647 h 962"/>
                <a:gd name="T22" fmla="*/ 2147483647 w 1109"/>
                <a:gd name="T23" fmla="*/ 2147483647 h 962"/>
                <a:gd name="T24" fmla="*/ 2147483647 w 1109"/>
                <a:gd name="T25" fmla="*/ 2147483647 h 962"/>
                <a:gd name="T26" fmla="*/ 2147483647 w 1109"/>
                <a:gd name="T27" fmla="*/ 2147483647 h 962"/>
                <a:gd name="T28" fmla="*/ 2147483647 w 1109"/>
                <a:gd name="T29" fmla="*/ 2147483647 h 962"/>
                <a:gd name="T30" fmla="*/ 2147483647 w 1109"/>
                <a:gd name="T31" fmla="*/ 2147483647 h 962"/>
                <a:gd name="T32" fmla="*/ 2147483647 w 1109"/>
                <a:gd name="T33" fmla="*/ 2147483647 h 962"/>
                <a:gd name="T34" fmla="*/ 2147483647 w 1109"/>
                <a:gd name="T35" fmla="*/ 2147483647 h 962"/>
                <a:gd name="T36" fmla="*/ 2147483647 w 1109"/>
                <a:gd name="T37" fmla="*/ 2147483647 h 962"/>
                <a:gd name="T38" fmla="*/ 0 w 1109"/>
                <a:gd name="T39" fmla="*/ 0 h 962"/>
                <a:gd name="T40" fmla="*/ 2147483647 w 1109"/>
                <a:gd name="T41" fmla="*/ 2147483647 h 962"/>
                <a:gd name="T42" fmla="*/ 2147483647 w 1109"/>
                <a:gd name="T43" fmla="*/ 2147483647 h 962"/>
                <a:gd name="T44" fmla="*/ 2147483647 w 1109"/>
                <a:gd name="T45" fmla="*/ 2147483647 h 962"/>
                <a:gd name="T46" fmla="*/ 2147483647 w 1109"/>
                <a:gd name="T47" fmla="*/ 2147483647 h 962"/>
                <a:gd name="T48" fmla="*/ 2147483647 w 1109"/>
                <a:gd name="T49" fmla="*/ 2147483647 h 962"/>
                <a:gd name="T50" fmla="*/ 2147483647 w 1109"/>
                <a:gd name="T51" fmla="*/ 2147483647 h 962"/>
                <a:gd name="T52" fmla="*/ 2147483647 w 1109"/>
                <a:gd name="T53" fmla="*/ 2147483647 h 962"/>
                <a:gd name="T54" fmla="*/ 2147483647 w 1109"/>
                <a:gd name="T55" fmla="*/ 2147483647 h 962"/>
                <a:gd name="T56" fmla="*/ 2147483647 w 1109"/>
                <a:gd name="T57" fmla="*/ 2147483647 h 962"/>
                <a:gd name="T58" fmla="*/ 2147483647 w 1109"/>
                <a:gd name="T59" fmla="*/ 2147483647 h 962"/>
                <a:gd name="T60" fmla="*/ 2147483647 w 1109"/>
                <a:gd name="T61" fmla="*/ 2147483647 h 9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109"/>
                <a:gd name="T94" fmla="*/ 0 h 962"/>
                <a:gd name="T95" fmla="*/ 1109 w 1109"/>
                <a:gd name="T96" fmla="*/ 962 h 9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109" h="962">
                  <a:moveTo>
                    <a:pt x="246" y="959"/>
                  </a:moveTo>
                  <a:lnTo>
                    <a:pt x="839" y="961"/>
                  </a:lnTo>
                  <a:lnTo>
                    <a:pt x="934" y="786"/>
                  </a:lnTo>
                  <a:lnTo>
                    <a:pt x="1023" y="611"/>
                  </a:lnTo>
                  <a:lnTo>
                    <a:pt x="1108" y="429"/>
                  </a:lnTo>
                  <a:lnTo>
                    <a:pt x="930" y="539"/>
                  </a:lnTo>
                  <a:lnTo>
                    <a:pt x="885" y="471"/>
                  </a:lnTo>
                  <a:lnTo>
                    <a:pt x="837" y="406"/>
                  </a:lnTo>
                  <a:lnTo>
                    <a:pt x="783" y="344"/>
                  </a:lnTo>
                  <a:lnTo>
                    <a:pt x="724" y="287"/>
                  </a:lnTo>
                  <a:lnTo>
                    <a:pt x="663" y="235"/>
                  </a:lnTo>
                  <a:lnTo>
                    <a:pt x="598" y="188"/>
                  </a:lnTo>
                  <a:lnTo>
                    <a:pt x="530" y="145"/>
                  </a:lnTo>
                  <a:lnTo>
                    <a:pt x="460" y="107"/>
                  </a:lnTo>
                  <a:lnTo>
                    <a:pt x="387" y="75"/>
                  </a:lnTo>
                  <a:lnTo>
                    <a:pt x="311" y="48"/>
                  </a:lnTo>
                  <a:lnTo>
                    <a:pt x="236" y="27"/>
                  </a:lnTo>
                  <a:lnTo>
                    <a:pt x="158" y="12"/>
                  </a:lnTo>
                  <a:lnTo>
                    <a:pt x="79" y="2"/>
                  </a:lnTo>
                  <a:lnTo>
                    <a:pt x="0" y="0"/>
                  </a:lnTo>
                  <a:lnTo>
                    <a:pt x="210" y="277"/>
                  </a:lnTo>
                  <a:lnTo>
                    <a:pt x="80" y="601"/>
                  </a:lnTo>
                  <a:lnTo>
                    <a:pt x="134" y="614"/>
                  </a:lnTo>
                  <a:lnTo>
                    <a:pt x="186" y="631"/>
                  </a:lnTo>
                  <a:lnTo>
                    <a:pt x="236" y="654"/>
                  </a:lnTo>
                  <a:lnTo>
                    <a:pt x="283" y="681"/>
                  </a:lnTo>
                  <a:lnTo>
                    <a:pt x="328" y="715"/>
                  </a:lnTo>
                  <a:lnTo>
                    <a:pt x="370" y="752"/>
                  </a:lnTo>
                  <a:lnTo>
                    <a:pt x="408" y="792"/>
                  </a:lnTo>
                  <a:lnTo>
                    <a:pt x="446" y="837"/>
                  </a:lnTo>
                  <a:lnTo>
                    <a:pt x="246" y="959"/>
                  </a:lnTo>
                </a:path>
              </a:pathLst>
            </a:custGeom>
            <a:solidFill>
              <a:schemeClr val="accent3">
                <a:lumMod val="75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/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blackWhite">
            <a:xfrm>
              <a:off x="1905000" y="1773238"/>
              <a:ext cx="3573463" cy="1779587"/>
            </a:xfrm>
            <a:custGeom>
              <a:avLst/>
              <a:gdLst>
                <a:gd name="T0" fmla="*/ 0 w 2206"/>
                <a:gd name="T1" fmla="*/ 2147483647 h 1099"/>
                <a:gd name="T2" fmla="*/ 2147483647 w 2206"/>
                <a:gd name="T3" fmla="*/ 2147483647 h 1099"/>
                <a:gd name="T4" fmla="*/ 2147483647 w 2206"/>
                <a:gd name="T5" fmla="*/ 2147483647 h 1099"/>
                <a:gd name="T6" fmla="*/ 2147483647 w 2206"/>
                <a:gd name="T7" fmla="*/ 2147483647 h 1099"/>
                <a:gd name="T8" fmla="*/ 2147483647 w 2206"/>
                <a:gd name="T9" fmla="*/ 2147483647 h 1099"/>
                <a:gd name="T10" fmla="*/ 2147483647 w 2206"/>
                <a:gd name="T11" fmla="*/ 2147483647 h 1099"/>
                <a:gd name="T12" fmla="*/ 2147483647 w 2206"/>
                <a:gd name="T13" fmla="*/ 2147483647 h 1099"/>
                <a:gd name="T14" fmla="*/ 2147483647 w 2206"/>
                <a:gd name="T15" fmla="*/ 2147483647 h 1099"/>
                <a:gd name="T16" fmla="*/ 2147483647 w 2206"/>
                <a:gd name="T17" fmla="*/ 2147483647 h 1099"/>
                <a:gd name="T18" fmla="*/ 2147483647 w 2206"/>
                <a:gd name="T19" fmla="*/ 2147483647 h 1099"/>
                <a:gd name="T20" fmla="*/ 2147483647 w 2206"/>
                <a:gd name="T21" fmla="*/ 2147483647 h 1099"/>
                <a:gd name="T22" fmla="*/ 2147483647 w 2206"/>
                <a:gd name="T23" fmla="*/ 2147483647 h 1099"/>
                <a:gd name="T24" fmla="*/ 2147483647 w 2206"/>
                <a:gd name="T25" fmla="*/ 2147483647 h 1099"/>
                <a:gd name="T26" fmla="*/ 2147483647 w 2206"/>
                <a:gd name="T27" fmla="*/ 2147483647 h 1099"/>
                <a:gd name="T28" fmla="*/ 2147483647 w 2206"/>
                <a:gd name="T29" fmla="*/ 0 h 1099"/>
                <a:gd name="T30" fmla="*/ 2147483647 w 2206"/>
                <a:gd name="T31" fmla="*/ 2147483647 h 1099"/>
                <a:gd name="T32" fmla="*/ 0 w 2206"/>
                <a:gd name="T33" fmla="*/ 2147483647 h 1099"/>
                <a:gd name="T34" fmla="*/ 0 w 2206"/>
                <a:gd name="T35" fmla="*/ 2147483647 h 109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206"/>
                <a:gd name="T55" fmla="*/ 0 h 1099"/>
                <a:gd name="T56" fmla="*/ 2206 w 2206"/>
                <a:gd name="T57" fmla="*/ 1099 h 109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206" h="1099">
                  <a:moveTo>
                    <a:pt x="0" y="864"/>
                  </a:moveTo>
                  <a:lnTo>
                    <a:pt x="1339" y="864"/>
                  </a:lnTo>
                  <a:lnTo>
                    <a:pt x="1552" y="1098"/>
                  </a:lnTo>
                  <a:lnTo>
                    <a:pt x="1587" y="1045"/>
                  </a:lnTo>
                  <a:lnTo>
                    <a:pt x="1625" y="996"/>
                  </a:lnTo>
                  <a:lnTo>
                    <a:pt x="1666" y="948"/>
                  </a:lnTo>
                  <a:lnTo>
                    <a:pt x="1711" y="906"/>
                  </a:lnTo>
                  <a:lnTo>
                    <a:pt x="1754" y="872"/>
                  </a:lnTo>
                  <a:lnTo>
                    <a:pt x="1800" y="845"/>
                  </a:lnTo>
                  <a:lnTo>
                    <a:pt x="1850" y="822"/>
                  </a:lnTo>
                  <a:lnTo>
                    <a:pt x="1900" y="803"/>
                  </a:lnTo>
                  <a:lnTo>
                    <a:pt x="1953" y="790"/>
                  </a:lnTo>
                  <a:lnTo>
                    <a:pt x="1983" y="1013"/>
                  </a:lnTo>
                  <a:lnTo>
                    <a:pt x="2205" y="471"/>
                  </a:lnTo>
                  <a:lnTo>
                    <a:pt x="1872" y="0"/>
                  </a:lnTo>
                  <a:lnTo>
                    <a:pt x="1873" y="196"/>
                  </a:lnTo>
                  <a:lnTo>
                    <a:pt x="0" y="196"/>
                  </a:lnTo>
                  <a:lnTo>
                    <a:pt x="0" y="864"/>
                  </a:lnTo>
                </a:path>
              </a:pathLst>
            </a:custGeom>
            <a:solidFill>
              <a:schemeClr val="accent3">
                <a:lumMod val="5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/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blackWhite">
            <a:xfrm>
              <a:off x="4867275" y="4592638"/>
              <a:ext cx="1806575" cy="1716087"/>
            </a:xfrm>
            <a:custGeom>
              <a:avLst/>
              <a:gdLst>
                <a:gd name="T0" fmla="*/ 0 w 1115"/>
                <a:gd name="T1" fmla="*/ 857233 h 1059"/>
                <a:gd name="T2" fmla="*/ 489786 w 1115"/>
                <a:gd name="T3" fmla="*/ 1714467 h 1059"/>
                <a:gd name="T4" fmla="*/ 489786 w 1115"/>
                <a:gd name="T5" fmla="*/ 1320690 h 1059"/>
                <a:gd name="T6" fmla="*/ 619693 w 1115"/>
                <a:gd name="T7" fmla="*/ 1309347 h 1059"/>
                <a:gd name="T8" fmla="*/ 753111 w 1115"/>
                <a:gd name="T9" fmla="*/ 1288280 h 1059"/>
                <a:gd name="T10" fmla="*/ 881263 w 1115"/>
                <a:gd name="T11" fmla="*/ 1259112 h 1059"/>
                <a:gd name="T12" fmla="*/ 1005904 w 1115"/>
                <a:gd name="T13" fmla="*/ 1221841 h 1059"/>
                <a:gd name="T14" fmla="*/ 1128789 w 1115"/>
                <a:gd name="T15" fmla="*/ 1176467 h 1059"/>
                <a:gd name="T16" fmla="*/ 1249919 w 1115"/>
                <a:gd name="T17" fmla="*/ 1122992 h 1059"/>
                <a:gd name="T18" fmla="*/ 1365782 w 1115"/>
                <a:gd name="T19" fmla="*/ 1061413 h 1059"/>
                <a:gd name="T20" fmla="*/ 1479890 w 1115"/>
                <a:gd name="T21" fmla="*/ 993353 h 1059"/>
                <a:gd name="T22" fmla="*/ 1581709 w 1115"/>
                <a:gd name="T23" fmla="*/ 913950 h 1059"/>
                <a:gd name="T24" fmla="*/ 1687039 w 1115"/>
                <a:gd name="T25" fmla="*/ 831306 h 1059"/>
                <a:gd name="T26" fmla="*/ 1781836 w 1115"/>
                <a:gd name="T27" fmla="*/ 738938 h 1059"/>
                <a:gd name="T28" fmla="*/ 1874878 w 1115"/>
                <a:gd name="T29" fmla="*/ 640089 h 1059"/>
                <a:gd name="T30" fmla="*/ 1955631 w 1115"/>
                <a:gd name="T31" fmla="*/ 539619 h 1059"/>
                <a:gd name="T32" fmla="*/ 1362271 w 1115"/>
                <a:gd name="T33" fmla="*/ 570408 h 1059"/>
                <a:gd name="T34" fmla="*/ 1093679 w 1115"/>
                <a:gd name="T35" fmla="*/ 58337 h 1059"/>
                <a:gd name="T36" fmla="*/ 1037503 w 1115"/>
                <a:gd name="T37" fmla="*/ 111813 h 1059"/>
                <a:gd name="T38" fmla="*/ 977816 w 1115"/>
                <a:gd name="T39" fmla="*/ 158807 h 1059"/>
                <a:gd name="T40" fmla="*/ 905840 w 1115"/>
                <a:gd name="T41" fmla="*/ 207421 h 1059"/>
                <a:gd name="T42" fmla="*/ 828598 w 1115"/>
                <a:gd name="T43" fmla="*/ 254415 h 1059"/>
                <a:gd name="T44" fmla="*/ 746089 w 1115"/>
                <a:gd name="T45" fmla="*/ 288445 h 1059"/>
                <a:gd name="T46" fmla="*/ 665336 w 1115"/>
                <a:gd name="T47" fmla="*/ 319234 h 1059"/>
                <a:gd name="T48" fmla="*/ 579316 w 1115"/>
                <a:gd name="T49" fmla="*/ 341921 h 1059"/>
                <a:gd name="T50" fmla="*/ 489786 w 1115"/>
                <a:gd name="T51" fmla="*/ 356505 h 1059"/>
                <a:gd name="T52" fmla="*/ 489786 w 1115"/>
                <a:gd name="T53" fmla="*/ 0 h 1059"/>
                <a:gd name="T54" fmla="*/ 0 w 1115"/>
                <a:gd name="T55" fmla="*/ 857233 h 1059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115"/>
                <a:gd name="T85" fmla="*/ 0 h 1059"/>
                <a:gd name="T86" fmla="*/ 1115 w 1115"/>
                <a:gd name="T87" fmla="*/ 1059 h 1059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115" h="1059">
                  <a:moveTo>
                    <a:pt x="0" y="529"/>
                  </a:moveTo>
                  <a:lnTo>
                    <a:pt x="279" y="1058"/>
                  </a:lnTo>
                  <a:lnTo>
                    <a:pt x="279" y="815"/>
                  </a:lnTo>
                  <a:lnTo>
                    <a:pt x="353" y="808"/>
                  </a:lnTo>
                  <a:lnTo>
                    <a:pt x="429" y="795"/>
                  </a:lnTo>
                  <a:lnTo>
                    <a:pt x="502" y="777"/>
                  </a:lnTo>
                  <a:lnTo>
                    <a:pt x="573" y="754"/>
                  </a:lnTo>
                  <a:lnTo>
                    <a:pt x="643" y="726"/>
                  </a:lnTo>
                  <a:lnTo>
                    <a:pt x="712" y="693"/>
                  </a:lnTo>
                  <a:lnTo>
                    <a:pt x="778" y="655"/>
                  </a:lnTo>
                  <a:lnTo>
                    <a:pt x="843" y="613"/>
                  </a:lnTo>
                  <a:lnTo>
                    <a:pt x="901" y="564"/>
                  </a:lnTo>
                  <a:lnTo>
                    <a:pt x="961" y="513"/>
                  </a:lnTo>
                  <a:lnTo>
                    <a:pt x="1015" y="456"/>
                  </a:lnTo>
                  <a:lnTo>
                    <a:pt x="1068" y="395"/>
                  </a:lnTo>
                  <a:lnTo>
                    <a:pt x="1114" y="333"/>
                  </a:lnTo>
                  <a:lnTo>
                    <a:pt x="776" y="352"/>
                  </a:lnTo>
                  <a:lnTo>
                    <a:pt x="623" y="36"/>
                  </a:lnTo>
                  <a:lnTo>
                    <a:pt x="591" y="69"/>
                  </a:lnTo>
                  <a:lnTo>
                    <a:pt x="557" y="98"/>
                  </a:lnTo>
                  <a:lnTo>
                    <a:pt x="516" y="128"/>
                  </a:lnTo>
                  <a:lnTo>
                    <a:pt x="472" y="157"/>
                  </a:lnTo>
                  <a:lnTo>
                    <a:pt x="425" y="178"/>
                  </a:lnTo>
                  <a:lnTo>
                    <a:pt x="379" y="197"/>
                  </a:lnTo>
                  <a:lnTo>
                    <a:pt x="330" y="211"/>
                  </a:lnTo>
                  <a:lnTo>
                    <a:pt x="279" y="220"/>
                  </a:lnTo>
                  <a:lnTo>
                    <a:pt x="279" y="0"/>
                  </a:lnTo>
                  <a:lnTo>
                    <a:pt x="0" y="529"/>
                  </a:lnTo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blackWhite">
            <a:xfrm>
              <a:off x="3294063" y="4378325"/>
              <a:ext cx="1719262" cy="1531938"/>
            </a:xfrm>
            <a:custGeom>
              <a:avLst/>
              <a:gdLst>
                <a:gd name="T0" fmla="*/ 2147483647 w 1061"/>
                <a:gd name="T1" fmla="*/ 0 h 946"/>
                <a:gd name="T2" fmla="*/ 0 w 1061"/>
                <a:gd name="T3" fmla="*/ 2147483647 h 946"/>
                <a:gd name="T4" fmla="*/ 2147483647 w 1061"/>
                <a:gd name="T5" fmla="*/ 2147483647 h 946"/>
                <a:gd name="T6" fmla="*/ 2147483647 w 1061"/>
                <a:gd name="T7" fmla="*/ 2147483647 h 946"/>
                <a:gd name="T8" fmla="*/ 2147483647 w 1061"/>
                <a:gd name="T9" fmla="*/ 2147483647 h 946"/>
                <a:gd name="T10" fmla="*/ 2147483647 w 1061"/>
                <a:gd name="T11" fmla="*/ 2147483647 h 946"/>
                <a:gd name="T12" fmla="*/ 2147483647 w 1061"/>
                <a:gd name="T13" fmla="*/ 2147483647 h 946"/>
                <a:gd name="T14" fmla="*/ 2147483647 w 1061"/>
                <a:gd name="T15" fmla="*/ 2147483647 h 946"/>
                <a:gd name="T16" fmla="*/ 2147483647 w 1061"/>
                <a:gd name="T17" fmla="*/ 2147483647 h 946"/>
                <a:gd name="T18" fmla="*/ 2147483647 w 1061"/>
                <a:gd name="T19" fmla="*/ 2147483647 h 946"/>
                <a:gd name="T20" fmla="*/ 2147483647 w 1061"/>
                <a:gd name="T21" fmla="*/ 2147483647 h 946"/>
                <a:gd name="T22" fmla="*/ 2147483647 w 1061"/>
                <a:gd name="T23" fmla="*/ 2147483647 h 946"/>
                <a:gd name="T24" fmla="*/ 2147483647 w 1061"/>
                <a:gd name="T25" fmla="*/ 2147483647 h 946"/>
                <a:gd name="T26" fmla="*/ 2147483647 w 1061"/>
                <a:gd name="T27" fmla="*/ 2147483647 h 946"/>
                <a:gd name="T28" fmla="*/ 2147483647 w 1061"/>
                <a:gd name="T29" fmla="*/ 2147483647 h 946"/>
                <a:gd name="T30" fmla="*/ 2147483647 w 1061"/>
                <a:gd name="T31" fmla="*/ 2147483647 h 946"/>
                <a:gd name="T32" fmla="*/ 2147483647 w 1061"/>
                <a:gd name="T33" fmla="*/ 2147483647 h 946"/>
                <a:gd name="T34" fmla="*/ 2147483647 w 1061"/>
                <a:gd name="T35" fmla="*/ 2147483647 h 946"/>
                <a:gd name="T36" fmla="*/ 2147483647 w 1061"/>
                <a:gd name="T37" fmla="*/ 2147483647 h 946"/>
                <a:gd name="T38" fmla="*/ 2147483647 w 1061"/>
                <a:gd name="T39" fmla="*/ 2147483647 h 946"/>
                <a:gd name="T40" fmla="*/ 2147483647 w 1061"/>
                <a:gd name="T41" fmla="*/ 2147483647 h 946"/>
                <a:gd name="T42" fmla="*/ 2147483647 w 1061"/>
                <a:gd name="T43" fmla="*/ 2147483647 h 946"/>
                <a:gd name="T44" fmla="*/ 2147483647 w 1061"/>
                <a:gd name="T45" fmla="*/ 2147483647 h 946"/>
                <a:gd name="T46" fmla="*/ 2147483647 w 1061"/>
                <a:gd name="T47" fmla="*/ 2147483647 h 946"/>
                <a:gd name="T48" fmla="*/ 2147483647 w 1061"/>
                <a:gd name="T49" fmla="*/ 2147483647 h 946"/>
                <a:gd name="T50" fmla="*/ 2147483647 w 1061"/>
                <a:gd name="T51" fmla="*/ 0 h 94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061"/>
                <a:gd name="T79" fmla="*/ 0 h 946"/>
                <a:gd name="T80" fmla="*/ 1061 w 1061"/>
                <a:gd name="T81" fmla="*/ 946 h 94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061" h="946">
                  <a:moveTo>
                    <a:pt x="372" y="0"/>
                  </a:moveTo>
                  <a:lnTo>
                    <a:pt x="0" y="477"/>
                  </a:lnTo>
                  <a:lnTo>
                    <a:pt x="207" y="395"/>
                  </a:lnTo>
                  <a:lnTo>
                    <a:pt x="252" y="466"/>
                  </a:lnTo>
                  <a:lnTo>
                    <a:pt x="302" y="531"/>
                  </a:lnTo>
                  <a:lnTo>
                    <a:pt x="354" y="592"/>
                  </a:lnTo>
                  <a:lnTo>
                    <a:pt x="410" y="649"/>
                  </a:lnTo>
                  <a:lnTo>
                    <a:pt x="471" y="703"/>
                  </a:lnTo>
                  <a:lnTo>
                    <a:pt x="535" y="751"/>
                  </a:lnTo>
                  <a:lnTo>
                    <a:pt x="602" y="795"/>
                  </a:lnTo>
                  <a:lnTo>
                    <a:pt x="670" y="833"/>
                  </a:lnTo>
                  <a:lnTo>
                    <a:pt x="745" y="867"/>
                  </a:lnTo>
                  <a:lnTo>
                    <a:pt x="818" y="894"/>
                  </a:lnTo>
                  <a:lnTo>
                    <a:pt x="894" y="917"/>
                  </a:lnTo>
                  <a:lnTo>
                    <a:pt x="970" y="934"/>
                  </a:lnTo>
                  <a:lnTo>
                    <a:pt x="1048" y="945"/>
                  </a:lnTo>
                  <a:lnTo>
                    <a:pt x="896" y="669"/>
                  </a:lnTo>
                  <a:lnTo>
                    <a:pt x="1060" y="347"/>
                  </a:lnTo>
                  <a:lnTo>
                    <a:pt x="1004" y="334"/>
                  </a:lnTo>
                  <a:lnTo>
                    <a:pt x="951" y="315"/>
                  </a:lnTo>
                  <a:lnTo>
                    <a:pt x="898" y="290"/>
                  </a:lnTo>
                  <a:lnTo>
                    <a:pt x="850" y="260"/>
                  </a:lnTo>
                  <a:lnTo>
                    <a:pt x="802" y="223"/>
                  </a:lnTo>
                  <a:lnTo>
                    <a:pt x="761" y="184"/>
                  </a:lnTo>
                  <a:lnTo>
                    <a:pt x="938" y="113"/>
                  </a:lnTo>
                  <a:lnTo>
                    <a:pt x="372" y="0"/>
                  </a:lnTo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40" name="Freeform 39"/>
            <p:cNvSpPr>
              <a:spLocks/>
            </p:cNvSpPr>
            <p:nvPr/>
          </p:nvSpPr>
          <p:spPr bwMode="blackWhite">
            <a:xfrm>
              <a:off x="3134390" y="3065463"/>
              <a:ext cx="1531273" cy="1709737"/>
            </a:xfrm>
            <a:custGeom>
              <a:avLst/>
              <a:gdLst>
                <a:gd name="T0" fmla="*/ 2147483647 w 866"/>
                <a:gd name="T1" fmla="*/ 0 h 1055"/>
                <a:gd name="T2" fmla="*/ 0 w 866"/>
                <a:gd name="T3" fmla="*/ 2147483647 h 1055"/>
                <a:gd name="T4" fmla="*/ 2147483647 w 866"/>
                <a:gd name="T5" fmla="*/ 2147483647 h 1055"/>
                <a:gd name="T6" fmla="*/ 2147483647 w 866"/>
                <a:gd name="T7" fmla="*/ 2147483647 h 1055"/>
                <a:gd name="T8" fmla="*/ 2147483647 w 866"/>
                <a:gd name="T9" fmla="*/ 2147483647 h 1055"/>
                <a:gd name="T10" fmla="*/ 2147483647 w 866"/>
                <a:gd name="T11" fmla="*/ 2147483647 h 1055"/>
                <a:gd name="T12" fmla="*/ 2147483647 w 866"/>
                <a:gd name="T13" fmla="*/ 2147483647 h 1055"/>
                <a:gd name="T14" fmla="*/ 2147483647 w 866"/>
                <a:gd name="T15" fmla="*/ 2147483647 h 1055"/>
                <a:gd name="T16" fmla="*/ 2147483647 w 866"/>
                <a:gd name="T17" fmla="*/ 2147483647 h 1055"/>
                <a:gd name="T18" fmla="*/ 2147483647 w 866"/>
                <a:gd name="T19" fmla="*/ 2147483647 h 1055"/>
                <a:gd name="T20" fmla="*/ 2147483647 w 866"/>
                <a:gd name="T21" fmla="*/ 2147483647 h 1055"/>
                <a:gd name="T22" fmla="*/ 2147483647 w 866"/>
                <a:gd name="T23" fmla="*/ 2147483647 h 1055"/>
                <a:gd name="T24" fmla="*/ 2147483647 w 866"/>
                <a:gd name="T25" fmla="*/ 2147483647 h 1055"/>
                <a:gd name="T26" fmla="*/ 2147483647 w 866"/>
                <a:gd name="T27" fmla="*/ 2147483647 h 1055"/>
                <a:gd name="T28" fmla="*/ 2147483647 w 866"/>
                <a:gd name="T29" fmla="*/ 2147483647 h 1055"/>
                <a:gd name="T30" fmla="*/ 2147483647 w 866"/>
                <a:gd name="T31" fmla="*/ 2147483647 h 1055"/>
                <a:gd name="T32" fmla="*/ 2147483647 w 866"/>
                <a:gd name="T33" fmla="*/ 2147483647 h 1055"/>
                <a:gd name="T34" fmla="*/ 2147483647 w 866"/>
                <a:gd name="T35" fmla="*/ 2147483647 h 1055"/>
                <a:gd name="T36" fmla="*/ 2147483647 w 866"/>
                <a:gd name="T37" fmla="*/ 2147483647 h 1055"/>
                <a:gd name="T38" fmla="*/ 2147483647 w 866"/>
                <a:gd name="T39" fmla="*/ 2147483647 h 1055"/>
                <a:gd name="T40" fmla="*/ 2147483647 w 866"/>
                <a:gd name="T41" fmla="*/ 2147483647 h 1055"/>
                <a:gd name="T42" fmla="*/ 2147483647 w 866"/>
                <a:gd name="T43" fmla="*/ 2147483647 h 1055"/>
                <a:gd name="T44" fmla="*/ 2147483647 w 866"/>
                <a:gd name="T45" fmla="*/ 2147483647 h 1055"/>
                <a:gd name="T46" fmla="*/ 2147483647 w 866"/>
                <a:gd name="T47" fmla="*/ 2147483647 h 1055"/>
                <a:gd name="T48" fmla="*/ 2147483647 w 866"/>
                <a:gd name="T49" fmla="*/ 2147483647 h 1055"/>
                <a:gd name="T50" fmla="*/ 2147483647 w 866"/>
                <a:gd name="T51" fmla="*/ 0 h 1055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866"/>
                <a:gd name="T79" fmla="*/ 0 h 1055"/>
                <a:gd name="T80" fmla="*/ 866 w 866"/>
                <a:gd name="T81" fmla="*/ 1055 h 1055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866" h="1055">
                  <a:moveTo>
                    <a:pt x="571" y="0"/>
                  </a:moveTo>
                  <a:lnTo>
                    <a:pt x="0" y="1"/>
                  </a:lnTo>
                  <a:lnTo>
                    <a:pt x="178" y="111"/>
                  </a:lnTo>
                  <a:lnTo>
                    <a:pt x="153" y="187"/>
                  </a:lnTo>
                  <a:lnTo>
                    <a:pt x="130" y="264"/>
                  </a:lnTo>
                  <a:lnTo>
                    <a:pt x="113" y="343"/>
                  </a:lnTo>
                  <a:lnTo>
                    <a:pt x="100" y="423"/>
                  </a:lnTo>
                  <a:lnTo>
                    <a:pt x="94" y="504"/>
                  </a:lnTo>
                  <a:lnTo>
                    <a:pt x="93" y="583"/>
                  </a:lnTo>
                  <a:lnTo>
                    <a:pt x="95" y="664"/>
                  </a:lnTo>
                  <a:lnTo>
                    <a:pt x="104" y="744"/>
                  </a:lnTo>
                  <a:lnTo>
                    <a:pt x="118" y="824"/>
                  </a:lnTo>
                  <a:lnTo>
                    <a:pt x="136" y="903"/>
                  </a:lnTo>
                  <a:lnTo>
                    <a:pt x="159" y="979"/>
                  </a:lnTo>
                  <a:lnTo>
                    <a:pt x="189" y="1054"/>
                  </a:lnTo>
                  <a:lnTo>
                    <a:pt x="412" y="766"/>
                  </a:lnTo>
                  <a:lnTo>
                    <a:pt x="702" y="816"/>
                  </a:lnTo>
                  <a:lnTo>
                    <a:pt x="681" y="760"/>
                  </a:lnTo>
                  <a:lnTo>
                    <a:pt x="666" y="705"/>
                  </a:lnTo>
                  <a:lnTo>
                    <a:pt x="658" y="647"/>
                  </a:lnTo>
                  <a:lnTo>
                    <a:pt x="652" y="588"/>
                  </a:lnTo>
                  <a:lnTo>
                    <a:pt x="652" y="529"/>
                  </a:lnTo>
                  <a:lnTo>
                    <a:pt x="660" y="470"/>
                  </a:lnTo>
                  <a:lnTo>
                    <a:pt x="672" y="413"/>
                  </a:lnTo>
                  <a:lnTo>
                    <a:pt x="865" y="531"/>
                  </a:lnTo>
                  <a:lnTo>
                    <a:pt x="571" y="0"/>
                  </a:lnTo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41" name="Rectangle 40"/>
            <p:cNvSpPr>
              <a:spLocks noChangeArrowheads="1"/>
            </p:cNvSpPr>
            <p:nvPr/>
          </p:nvSpPr>
          <p:spPr bwMode="blackWhite">
            <a:xfrm>
              <a:off x="2898612" y="2538471"/>
              <a:ext cx="1413207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78738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. White</a:t>
              </a:r>
              <a:r>
                <a:rPr lang="en-US" sz="1400" baseline="0">
                  <a:solidFill>
                    <a:schemeClr val="bg1"/>
                  </a:solidFill>
                </a:rPr>
                <a:t>. 14PT</a:t>
              </a: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42" name="Rectangle 41"/>
            <p:cNvSpPr>
              <a:spLocks noChangeArrowheads="1"/>
            </p:cNvSpPr>
            <p:nvPr/>
          </p:nvSpPr>
          <p:spPr bwMode="blackWhite">
            <a:xfrm>
              <a:off x="5890738" y="2805171"/>
              <a:ext cx="327975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38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43" name="Rectangle 42"/>
            <p:cNvSpPr>
              <a:spLocks noChangeArrowheads="1"/>
            </p:cNvSpPr>
            <p:nvPr/>
          </p:nvSpPr>
          <p:spPr bwMode="blackWhite">
            <a:xfrm>
              <a:off x="6370163" y="4146609"/>
              <a:ext cx="327975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38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44" name="Rectangle 43"/>
            <p:cNvSpPr>
              <a:spLocks noChangeArrowheads="1"/>
            </p:cNvSpPr>
            <p:nvPr/>
          </p:nvSpPr>
          <p:spPr bwMode="blackWhite">
            <a:xfrm>
              <a:off x="5501800" y="5259446"/>
              <a:ext cx="327975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38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45" name="Rectangle 44"/>
            <p:cNvSpPr>
              <a:spLocks noChangeArrowheads="1"/>
            </p:cNvSpPr>
            <p:nvPr/>
          </p:nvSpPr>
          <p:spPr bwMode="blackWhite">
            <a:xfrm>
              <a:off x="4166713" y="4962584"/>
              <a:ext cx="327975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38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46" name="Rectangle 45"/>
            <p:cNvSpPr>
              <a:spLocks noChangeArrowheads="1"/>
            </p:cNvSpPr>
            <p:nvPr/>
          </p:nvSpPr>
          <p:spPr bwMode="blackWhite">
            <a:xfrm>
              <a:off x="3627625" y="3692584"/>
              <a:ext cx="327975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38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</p:grpSp>
      <p:sp>
        <p:nvSpPr>
          <p:cNvPr id="47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48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4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3" y="1553303"/>
            <a:ext cx="5116787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Slide designed to be used when you only have a small intro paragraph and bullet points. 18PT</a:t>
            </a:r>
          </a:p>
        </p:txBody>
      </p:sp>
      <p:sp>
        <p:nvSpPr>
          <p:cNvPr id="55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3" y="2332849"/>
            <a:ext cx="5116787" cy="3646923"/>
          </a:xfrm>
          <a:prstGeom prst="rect">
            <a:avLst/>
          </a:prstGeom>
        </p:spPr>
        <p:txBody>
          <a:bodyPr lIns="0" tIns="0" rIns="0" bIns="0"/>
          <a:lstStyle>
            <a:lvl1pPr marL="134935" indent="-134935">
              <a:tabLst/>
              <a:defRPr sz="1400" baseline="0"/>
            </a:lvl1pPr>
            <a:lvl2pPr marL="314317" indent="-136522">
              <a:tabLst/>
              <a:defRPr sz="1200" baseline="0"/>
            </a:lvl2pPr>
            <a:lvl3pPr marL="450839" indent="-136522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59380356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. Strategy Slide - Process Closed Loop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93C38AE4-B279-4EB8-8554-69F24D6448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5942897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93C38AE4-B279-4EB8-8554-69F24D6448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12AB5A7A-288E-4B8B-945D-D3095B3373F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4"/>
            <a:ext cx="9966660" cy="67061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PROCESS CLOSED LOOP WITH LARGE TEXT</a:t>
            </a:r>
          </a:p>
        </p:txBody>
      </p:sp>
      <p:sp>
        <p:nvSpPr>
          <p:cNvPr id="47" name="Arc 3"/>
          <p:cNvSpPr>
            <a:spLocks/>
          </p:cNvSpPr>
          <p:nvPr userDrawn="1"/>
        </p:nvSpPr>
        <p:spPr bwMode="auto">
          <a:xfrm>
            <a:off x="8555775" y="1924512"/>
            <a:ext cx="2043112" cy="1801812"/>
          </a:xfrm>
          <a:custGeom>
            <a:avLst/>
            <a:gdLst>
              <a:gd name="T0" fmla="*/ 0 w 19173"/>
              <a:gd name="T1" fmla="*/ 0 h 21600"/>
              <a:gd name="T2" fmla="*/ 2147483647 w 19173"/>
              <a:gd name="T3" fmla="*/ 2147483647 h 21600"/>
              <a:gd name="T4" fmla="*/ 0 w 19173"/>
              <a:gd name="T5" fmla="*/ 2147483647 h 21600"/>
              <a:gd name="T6" fmla="*/ 0 60000 65536"/>
              <a:gd name="T7" fmla="*/ 0 60000 65536"/>
              <a:gd name="T8" fmla="*/ 0 60000 65536"/>
              <a:gd name="T9" fmla="*/ 0 w 19173"/>
              <a:gd name="T10" fmla="*/ 0 h 21600"/>
              <a:gd name="T11" fmla="*/ 19173 w 19173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9173" h="21600" fill="none" extrusionOk="0">
                <a:moveTo>
                  <a:pt x="-1" y="0"/>
                </a:moveTo>
                <a:cubicBezTo>
                  <a:pt x="8064" y="0"/>
                  <a:pt x="15457" y="4492"/>
                  <a:pt x="19172" y="11651"/>
                </a:cubicBezTo>
              </a:path>
              <a:path w="19173" h="21600" stroke="0" extrusionOk="0">
                <a:moveTo>
                  <a:pt x="-1" y="0"/>
                </a:moveTo>
                <a:cubicBezTo>
                  <a:pt x="8064" y="0"/>
                  <a:pt x="15457" y="4492"/>
                  <a:pt x="19172" y="11651"/>
                </a:cubicBezTo>
                <a:lnTo>
                  <a:pt x="0" y="21600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/>
            <a:tailEnd type="triangle" w="med" len="med"/>
          </a:ln>
        </p:spPr>
        <p:txBody>
          <a:bodyPr wrap="none" lIns="36000" tIns="36000" rIns="36000" bIns="36000" anchor="ctr"/>
          <a:lstStyle/>
          <a:p>
            <a:pPr algn="ctr" eaLnBrk="1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48" name="Arc 4"/>
          <p:cNvSpPr>
            <a:spLocks/>
          </p:cNvSpPr>
          <p:nvPr userDrawn="1"/>
        </p:nvSpPr>
        <p:spPr bwMode="auto">
          <a:xfrm flipV="1">
            <a:off x="8555776" y="3803960"/>
            <a:ext cx="2301875" cy="969963"/>
          </a:xfrm>
          <a:custGeom>
            <a:avLst/>
            <a:gdLst>
              <a:gd name="T0" fmla="*/ 2147483647 w 21600"/>
              <a:gd name="T1" fmla="*/ 0 h 11619"/>
              <a:gd name="T2" fmla="*/ 2147483647 w 21600"/>
              <a:gd name="T3" fmla="*/ 2147483647 h 11619"/>
              <a:gd name="T4" fmla="*/ 0 w 21600"/>
              <a:gd name="T5" fmla="*/ 2147483647 h 11619"/>
              <a:gd name="T6" fmla="*/ 0 60000 65536"/>
              <a:gd name="T7" fmla="*/ 0 60000 65536"/>
              <a:gd name="T8" fmla="*/ 0 60000 65536"/>
              <a:gd name="T9" fmla="*/ 0 w 21600"/>
              <a:gd name="T10" fmla="*/ 0 h 11619"/>
              <a:gd name="T11" fmla="*/ 21600 w 21600"/>
              <a:gd name="T12" fmla="*/ 11619 h 11619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11619" fill="none" extrusionOk="0">
                <a:moveTo>
                  <a:pt x="18208" y="0"/>
                </a:moveTo>
                <a:cubicBezTo>
                  <a:pt x="20423" y="3470"/>
                  <a:pt x="21600" y="7501"/>
                  <a:pt x="21600" y="11619"/>
                </a:cubicBezTo>
              </a:path>
              <a:path w="21600" h="11619" stroke="0" extrusionOk="0">
                <a:moveTo>
                  <a:pt x="18208" y="0"/>
                </a:moveTo>
                <a:cubicBezTo>
                  <a:pt x="20423" y="3470"/>
                  <a:pt x="21600" y="7501"/>
                  <a:pt x="21600" y="11619"/>
                </a:cubicBezTo>
                <a:lnTo>
                  <a:pt x="0" y="11619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rot="10800000" wrap="none" lIns="36000" tIns="36000" rIns="36000" bIns="36000" anchor="ctr"/>
          <a:lstStyle/>
          <a:p>
            <a:pPr algn="ctr" eaLnBrk="1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49" name="Arc 5"/>
          <p:cNvSpPr>
            <a:spLocks/>
          </p:cNvSpPr>
          <p:nvPr userDrawn="1"/>
        </p:nvSpPr>
        <p:spPr bwMode="auto">
          <a:xfrm rot="183362" flipV="1">
            <a:off x="8250240" y="3884615"/>
            <a:ext cx="1851025" cy="1801813"/>
          </a:xfrm>
          <a:custGeom>
            <a:avLst/>
            <a:gdLst>
              <a:gd name="T0" fmla="*/ 0 w 17368"/>
              <a:gd name="T1" fmla="*/ 2147483647 h 21600"/>
              <a:gd name="T2" fmla="*/ 2147483647 w 17368"/>
              <a:gd name="T3" fmla="*/ 2147483647 h 21600"/>
              <a:gd name="T4" fmla="*/ 2147483647 w 17368"/>
              <a:gd name="T5" fmla="*/ 2147483647 h 21600"/>
              <a:gd name="T6" fmla="*/ 0 60000 65536"/>
              <a:gd name="T7" fmla="*/ 0 60000 65536"/>
              <a:gd name="T8" fmla="*/ 0 60000 65536"/>
              <a:gd name="T9" fmla="*/ 0 w 17368"/>
              <a:gd name="T10" fmla="*/ 0 h 21600"/>
              <a:gd name="T11" fmla="*/ 17368 w 17368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7368" h="21600" fill="none" extrusionOk="0">
                <a:moveTo>
                  <a:pt x="0" y="189"/>
                </a:moveTo>
                <a:cubicBezTo>
                  <a:pt x="945" y="63"/>
                  <a:pt x="1898" y="-1"/>
                  <a:pt x="2852" y="0"/>
                </a:cubicBezTo>
                <a:cubicBezTo>
                  <a:pt x="8218" y="0"/>
                  <a:pt x="13393" y="1998"/>
                  <a:pt x="17368" y="5604"/>
                </a:cubicBezTo>
              </a:path>
              <a:path w="17368" h="21600" stroke="0" extrusionOk="0">
                <a:moveTo>
                  <a:pt x="0" y="189"/>
                </a:moveTo>
                <a:cubicBezTo>
                  <a:pt x="945" y="63"/>
                  <a:pt x="1898" y="-1"/>
                  <a:pt x="2852" y="0"/>
                </a:cubicBezTo>
                <a:cubicBezTo>
                  <a:pt x="8218" y="0"/>
                  <a:pt x="13393" y="1998"/>
                  <a:pt x="17368" y="5604"/>
                </a:cubicBezTo>
                <a:lnTo>
                  <a:pt x="2852" y="21600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rot="10800000" wrap="none" lIns="36000" tIns="36000" rIns="36000" bIns="36000" anchor="ctr"/>
          <a:lstStyle/>
          <a:p>
            <a:pPr algn="ctr" eaLnBrk="1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54" name="Arc 6"/>
          <p:cNvSpPr>
            <a:spLocks/>
          </p:cNvSpPr>
          <p:nvPr userDrawn="1"/>
        </p:nvSpPr>
        <p:spPr bwMode="auto">
          <a:xfrm flipH="1" flipV="1">
            <a:off x="6312638" y="3726326"/>
            <a:ext cx="2244725" cy="1592263"/>
          </a:xfrm>
          <a:custGeom>
            <a:avLst/>
            <a:gdLst>
              <a:gd name="T0" fmla="*/ 2147483647 w 21027"/>
              <a:gd name="T1" fmla="*/ 0 h 19082"/>
              <a:gd name="T2" fmla="*/ 2147483647 w 21027"/>
              <a:gd name="T3" fmla="*/ 2147483647 h 19082"/>
              <a:gd name="T4" fmla="*/ 0 w 21027"/>
              <a:gd name="T5" fmla="*/ 2147483647 h 19082"/>
              <a:gd name="T6" fmla="*/ 0 60000 65536"/>
              <a:gd name="T7" fmla="*/ 0 60000 65536"/>
              <a:gd name="T8" fmla="*/ 0 60000 65536"/>
              <a:gd name="T9" fmla="*/ 0 w 21027"/>
              <a:gd name="T10" fmla="*/ 0 h 19082"/>
              <a:gd name="T11" fmla="*/ 21027 w 21027"/>
              <a:gd name="T12" fmla="*/ 19082 h 1908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027" h="19082" fill="none" extrusionOk="0">
                <a:moveTo>
                  <a:pt x="10121" y="0"/>
                </a:moveTo>
                <a:cubicBezTo>
                  <a:pt x="15625" y="2919"/>
                  <a:pt x="19601" y="8073"/>
                  <a:pt x="21026" y="14139"/>
                </a:cubicBezTo>
              </a:path>
              <a:path w="21027" h="19082" stroke="0" extrusionOk="0">
                <a:moveTo>
                  <a:pt x="10121" y="0"/>
                </a:moveTo>
                <a:cubicBezTo>
                  <a:pt x="15625" y="2919"/>
                  <a:pt x="19601" y="8073"/>
                  <a:pt x="21026" y="14139"/>
                </a:cubicBezTo>
                <a:lnTo>
                  <a:pt x="0" y="19082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/>
            <a:tailEnd type="triangle" w="med" len="med"/>
          </a:ln>
        </p:spPr>
        <p:txBody>
          <a:bodyPr rot="10800000" wrap="none" lIns="36000" tIns="36000" rIns="36000" bIns="36000" anchor="ctr"/>
          <a:lstStyle/>
          <a:p>
            <a:pPr algn="ctr" eaLnBrk="1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55" name="Arc 7"/>
          <p:cNvSpPr>
            <a:spLocks/>
          </p:cNvSpPr>
          <p:nvPr userDrawn="1"/>
        </p:nvSpPr>
        <p:spPr bwMode="auto">
          <a:xfrm flipH="1">
            <a:off x="6279301" y="2067389"/>
            <a:ext cx="2278063" cy="1658937"/>
          </a:xfrm>
          <a:custGeom>
            <a:avLst/>
            <a:gdLst>
              <a:gd name="T0" fmla="*/ 2147483647 w 21347"/>
              <a:gd name="T1" fmla="*/ 0 h 19905"/>
              <a:gd name="T2" fmla="*/ 2147483647 w 21347"/>
              <a:gd name="T3" fmla="*/ 2147483647 h 19905"/>
              <a:gd name="T4" fmla="*/ 0 w 21347"/>
              <a:gd name="T5" fmla="*/ 2147483647 h 19905"/>
              <a:gd name="T6" fmla="*/ 0 60000 65536"/>
              <a:gd name="T7" fmla="*/ 0 60000 65536"/>
              <a:gd name="T8" fmla="*/ 0 60000 65536"/>
              <a:gd name="T9" fmla="*/ 0 w 21347"/>
              <a:gd name="T10" fmla="*/ 0 h 19905"/>
              <a:gd name="T11" fmla="*/ 21347 w 21347"/>
              <a:gd name="T12" fmla="*/ 19905 h 1990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347" h="19905" fill="none" extrusionOk="0">
                <a:moveTo>
                  <a:pt x="8386" y="-1"/>
                </a:moveTo>
                <a:cubicBezTo>
                  <a:pt x="15295" y="2910"/>
                  <a:pt x="20201" y="9196"/>
                  <a:pt x="21346" y="16606"/>
                </a:cubicBezTo>
              </a:path>
              <a:path w="21347" h="19905" stroke="0" extrusionOk="0">
                <a:moveTo>
                  <a:pt x="8386" y="-1"/>
                </a:moveTo>
                <a:cubicBezTo>
                  <a:pt x="15295" y="2910"/>
                  <a:pt x="20201" y="9196"/>
                  <a:pt x="21346" y="16606"/>
                </a:cubicBezTo>
                <a:lnTo>
                  <a:pt x="0" y="19905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wrap="none" lIns="36000" tIns="36000" rIns="36000" bIns="36000" anchor="ctr"/>
          <a:lstStyle/>
          <a:p>
            <a:pPr algn="ctr" eaLnBrk="1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75" name="Oval 8"/>
          <p:cNvSpPr>
            <a:spLocks noChangeArrowheads="1"/>
          </p:cNvSpPr>
          <p:nvPr userDrawn="1"/>
        </p:nvSpPr>
        <p:spPr bwMode="auto">
          <a:xfrm>
            <a:off x="9048889" y="4635962"/>
            <a:ext cx="1743075" cy="1238250"/>
          </a:xfrm>
          <a:prstGeom prst="ellipse">
            <a:avLst/>
          </a:prstGeom>
          <a:solidFill>
            <a:schemeClr val="accent3"/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6" name="Oval 9"/>
          <p:cNvSpPr>
            <a:spLocks noChangeArrowheads="1"/>
          </p:cNvSpPr>
          <p:nvPr userDrawn="1"/>
        </p:nvSpPr>
        <p:spPr bwMode="auto">
          <a:xfrm>
            <a:off x="5612551" y="2894476"/>
            <a:ext cx="1738312" cy="1235075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7" name="Oval 10"/>
          <p:cNvSpPr>
            <a:spLocks noChangeArrowheads="1"/>
          </p:cNvSpPr>
          <p:nvPr userDrawn="1"/>
        </p:nvSpPr>
        <p:spPr bwMode="auto">
          <a:xfrm>
            <a:off x="6571400" y="4635962"/>
            <a:ext cx="1738312" cy="123825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8" name="Oval 11"/>
          <p:cNvSpPr>
            <a:spLocks noChangeArrowheads="1"/>
          </p:cNvSpPr>
          <p:nvPr userDrawn="1"/>
        </p:nvSpPr>
        <p:spPr bwMode="auto">
          <a:xfrm>
            <a:off x="9835301" y="2894476"/>
            <a:ext cx="1744663" cy="1235075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9" name="Oval 12"/>
          <p:cNvSpPr>
            <a:spLocks noChangeArrowheads="1"/>
          </p:cNvSpPr>
          <p:nvPr userDrawn="1"/>
        </p:nvSpPr>
        <p:spPr bwMode="auto">
          <a:xfrm>
            <a:off x="7684238" y="1438739"/>
            <a:ext cx="1739900" cy="11890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80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81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82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85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800" y="1698047"/>
            <a:ext cx="4727325" cy="390592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s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95521323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. Strategy Slide - Direct Reports Or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255AF908-E693-430C-A758-3A9795ECD2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131077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255AF908-E693-430C-A758-3A9795ECD2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E8F4DA4E-B32C-4478-A3ED-55FDD4938AF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2"/>
            <a:ext cx="9966660" cy="60248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DIRECT REPORTS ORG CHART.</a:t>
            </a:r>
          </a:p>
        </p:txBody>
      </p:sp>
      <p:sp>
        <p:nvSpPr>
          <p:cNvPr id="125" name="Rectangle 124"/>
          <p:cNvSpPr/>
          <p:nvPr/>
        </p:nvSpPr>
        <p:spPr>
          <a:xfrm>
            <a:off x="5428481" y="1565720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cxnSp>
        <p:nvCxnSpPr>
          <p:cNvPr id="81" name="Straight Connector 80"/>
          <p:cNvCxnSpPr/>
          <p:nvPr/>
        </p:nvCxnSpPr>
        <p:spPr>
          <a:xfrm>
            <a:off x="1088796" y="3433191"/>
            <a:ext cx="84909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/>
          <p:nvPr/>
        </p:nvCxnSpPr>
        <p:spPr>
          <a:xfrm>
            <a:off x="9579777" y="3433191"/>
            <a:ext cx="1481343" cy="0"/>
          </a:xfrm>
          <a:prstGeom prst="line">
            <a:avLst/>
          </a:prstGeom>
          <a:ln w="6350">
            <a:solidFill>
              <a:schemeClr val="tx2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120"/>
          <p:cNvCxnSpPr/>
          <p:nvPr/>
        </p:nvCxnSpPr>
        <p:spPr>
          <a:xfrm>
            <a:off x="9582047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/>
          <p:cNvCxnSpPr/>
          <p:nvPr/>
        </p:nvCxnSpPr>
        <p:spPr>
          <a:xfrm>
            <a:off x="11061119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/>
          <p:cNvCxnSpPr/>
          <p:nvPr/>
        </p:nvCxnSpPr>
        <p:spPr>
          <a:xfrm>
            <a:off x="5302440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/>
          <p:nvPr/>
        </p:nvCxnSpPr>
        <p:spPr>
          <a:xfrm>
            <a:off x="3925703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/>
          <p:cNvCxnSpPr/>
          <p:nvPr/>
        </p:nvCxnSpPr>
        <p:spPr>
          <a:xfrm>
            <a:off x="2513311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/>
          <p:nvPr/>
        </p:nvCxnSpPr>
        <p:spPr>
          <a:xfrm>
            <a:off x="1088796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42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43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5519782" y="1674479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5519782" y="2691368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44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19782" y="2856099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cxnSp>
        <p:nvCxnSpPr>
          <p:cNvPr id="145" name="Straight Connector 144"/>
          <p:cNvCxnSpPr/>
          <p:nvPr/>
        </p:nvCxnSpPr>
        <p:spPr>
          <a:xfrm>
            <a:off x="6057407" y="3086187"/>
            <a:ext cx="0" cy="343134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/>
          <p:cNvCxnSpPr/>
          <p:nvPr/>
        </p:nvCxnSpPr>
        <p:spPr>
          <a:xfrm>
            <a:off x="6760791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/>
          <p:cNvCxnSpPr/>
          <p:nvPr/>
        </p:nvCxnSpPr>
        <p:spPr>
          <a:xfrm>
            <a:off x="8153492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Rectangle 150"/>
          <p:cNvSpPr/>
          <p:nvPr userDrawn="1"/>
        </p:nvSpPr>
        <p:spPr>
          <a:xfrm>
            <a:off x="432839" y="3708913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52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524139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53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24139" y="4834561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54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24139" y="4999292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55" name="Rectangle 154"/>
          <p:cNvSpPr/>
          <p:nvPr userDrawn="1"/>
        </p:nvSpPr>
        <p:spPr>
          <a:xfrm>
            <a:off x="1859057" y="3708913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56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1950358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57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1950358" y="4834561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5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1950358" y="4999292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59" name="Rectangle 158"/>
          <p:cNvSpPr/>
          <p:nvPr userDrawn="1"/>
        </p:nvSpPr>
        <p:spPr>
          <a:xfrm>
            <a:off x="3272951" y="3708913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60" name="Picture Placeholder 4"/>
          <p:cNvSpPr>
            <a:spLocks noGrp="1"/>
          </p:cNvSpPr>
          <p:nvPr>
            <p:ph type="pic" sz="quarter" idx="19" hasCustomPrompt="1"/>
          </p:nvPr>
        </p:nvSpPr>
        <p:spPr>
          <a:xfrm>
            <a:off x="3364250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1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3364250" y="4834561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62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364250" y="4999292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63" name="Rectangle 162"/>
          <p:cNvSpPr/>
          <p:nvPr userDrawn="1"/>
        </p:nvSpPr>
        <p:spPr>
          <a:xfrm>
            <a:off x="4646565" y="3708913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64" name="Picture Placeholder 4"/>
          <p:cNvSpPr>
            <a:spLocks noGrp="1"/>
          </p:cNvSpPr>
          <p:nvPr>
            <p:ph type="pic" sz="quarter" idx="22" hasCustomPrompt="1"/>
          </p:nvPr>
        </p:nvSpPr>
        <p:spPr>
          <a:xfrm>
            <a:off x="4737865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5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737865" y="4834561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66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4737865" y="4999292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67" name="Rectangle 166"/>
          <p:cNvSpPr/>
          <p:nvPr userDrawn="1"/>
        </p:nvSpPr>
        <p:spPr>
          <a:xfrm>
            <a:off x="6100747" y="3708913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68" name="Picture Placeholder 4"/>
          <p:cNvSpPr>
            <a:spLocks noGrp="1"/>
          </p:cNvSpPr>
          <p:nvPr>
            <p:ph type="pic" sz="quarter" idx="25" hasCustomPrompt="1"/>
          </p:nvPr>
        </p:nvSpPr>
        <p:spPr>
          <a:xfrm>
            <a:off x="6192047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9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6192047" y="4834561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0" name="Text Placeholder 7"/>
          <p:cNvSpPr>
            <a:spLocks noGrp="1"/>
          </p:cNvSpPr>
          <p:nvPr>
            <p:ph type="body" sz="quarter" idx="27" hasCustomPrompt="1"/>
          </p:nvPr>
        </p:nvSpPr>
        <p:spPr>
          <a:xfrm>
            <a:off x="6192047" y="4999292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1" name="Rectangle 170"/>
          <p:cNvSpPr/>
          <p:nvPr userDrawn="1"/>
        </p:nvSpPr>
        <p:spPr>
          <a:xfrm>
            <a:off x="7498529" y="3708913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72" name="Picture Placeholder 4"/>
          <p:cNvSpPr>
            <a:spLocks noGrp="1"/>
          </p:cNvSpPr>
          <p:nvPr>
            <p:ph type="pic" sz="quarter" idx="28" hasCustomPrompt="1"/>
          </p:nvPr>
        </p:nvSpPr>
        <p:spPr>
          <a:xfrm>
            <a:off x="7589830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73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7589830" y="4834561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4" name="Text Placeholder 7"/>
          <p:cNvSpPr>
            <a:spLocks noGrp="1"/>
          </p:cNvSpPr>
          <p:nvPr>
            <p:ph type="body" sz="quarter" idx="30" hasCustomPrompt="1"/>
          </p:nvPr>
        </p:nvSpPr>
        <p:spPr>
          <a:xfrm>
            <a:off x="7589830" y="4999292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5" name="Rectangle 174"/>
          <p:cNvSpPr/>
          <p:nvPr userDrawn="1"/>
        </p:nvSpPr>
        <p:spPr>
          <a:xfrm>
            <a:off x="8927503" y="3708913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76" name="Picture Placeholder 4"/>
          <p:cNvSpPr>
            <a:spLocks noGrp="1"/>
          </p:cNvSpPr>
          <p:nvPr>
            <p:ph type="pic" sz="quarter" idx="31" hasCustomPrompt="1"/>
          </p:nvPr>
        </p:nvSpPr>
        <p:spPr>
          <a:xfrm>
            <a:off x="9018803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77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9018803" y="4834561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8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9018803" y="4999292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9" name="Rectangle 178"/>
          <p:cNvSpPr/>
          <p:nvPr userDrawn="1"/>
        </p:nvSpPr>
        <p:spPr>
          <a:xfrm>
            <a:off x="10405848" y="3708913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80" name="Picture Placeholder 4"/>
          <p:cNvSpPr>
            <a:spLocks noGrp="1"/>
          </p:cNvSpPr>
          <p:nvPr>
            <p:ph type="pic" sz="quarter" idx="34" hasCustomPrompt="1"/>
          </p:nvPr>
        </p:nvSpPr>
        <p:spPr>
          <a:xfrm>
            <a:off x="10497147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81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10497147" y="4834561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82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10497147" y="4999292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5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86499589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. Strategy Slide - Company/Function Or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E5A94F79-3A9D-4B26-B0B4-54E0570835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981919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E5A94F79-3A9D-4B26-B0B4-54E0570835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F2FF857E-19FC-4DFA-93C2-FA79EA29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4"/>
            <a:ext cx="9966660" cy="66047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MPANY / FUNCTION ORG CHART.</a:t>
            </a:r>
          </a:p>
        </p:txBody>
      </p:sp>
      <p:cxnSp>
        <p:nvCxnSpPr>
          <p:cNvPr id="143" name="Straight Connector 142"/>
          <p:cNvCxnSpPr>
            <a:stCxn id="210" idx="2"/>
          </p:cNvCxnSpPr>
          <p:nvPr userDrawn="1"/>
        </p:nvCxnSpPr>
        <p:spPr>
          <a:xfrm>
            <a:off x="5367448" y="2111553"/>
            <a:ext cx="0" cy="568149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143"/>
          <p:cNvCxnSpPr/>
          <p:nvPr userDrawn="1"/>
        </p:nvCxnSpPr>
        <p:spPr>
          <a:xfrm flipH="1">
            <a:off x="2979126" y="2530165"/>
            <a:ext cx="485527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ounded Rectangle 144"/>
          <p:cNvSpPr/>
          <p:nvPr userDrawn="1"/>
        </p:nvSpPr>
        <p:spPr>
          <a:xfrm>
            <a:off x="2112961" y="27076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46" name="Straight Connector 145"/>
          <p:cNvCxnSpPr/>
          <p:nvPr userDrawn="1"/>
        </p:nvCxnSpPr>
        <p:spPr>
          <a:xfrm>
            <a:off x="2977056" y="2530167"/>
            <a:ext cx="0" cy="149535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Rounded Rectangle 146"/>
          <p:cNvSpPr/>
          <p:nvPr userDrawn="1"/>
        </p:nvSpPr>
        <p:spPr>
          <a:xfrm>
            <a:off x="1534226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48" name="Rounded Rectangle 147"/>
          <p:cNvSpPr/>
          <p:nvPr userDrawn="1"/>
        </p:nvSpPr>
        <p:spPr>
          <a:xfrm>
            <a:off x="1534226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49" name="Rounded Rectangle 148"/>
          <p:cNvSpPr/>
          <p:nvPr userDrawn="1"/>
        </p:nvSpPr>
        <p:spPr>
          <a:xfrm>
            <a:off x="1534226" y="47400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50" name="Rounded Rectangle 149"/>
          <p:cNvSpPr/>
          <p:nvPr userDrawn="1"/>
        </p:nvSpPr>
        <p:spPr>
          <a:xfrm>
            <a:off x="1534226" y="5376518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51" name="Straight Connector 150"/>
          <p:cNvCxnSpPr/>
          <p:nvPr userDrawn="1"/>
        </p:nvCxnSpPr>
        <p:spPr>
          <a:xfrm>
            <a:off x="3518616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/>
          <p:cNvCxnSpPr/>
          <p:nvPr userDrawn="1"/>
        </p:nvCxnSpPr>
        <p:spPr>
          <a:xfrm flipH="1">
            <a:off x="3331589" y="4350378"/>
            <a:ext cx="18702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/>
          <p:cNvCxnSpPr/>
          <p:nvPr userDrawn="1"/>
        </p:nvCxnSpPr>
        <p:spPr>
          <a:xfrm>
            <a:off x="3697136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/>
          <p:cNvCxnSpPr/>
          <p:nvPr userDrawn="1"/>
        </p:nvCxnSpPr>
        <p:spPr>
          <a:xfrm rot="16200000">
            <a:off x="3796653" y="5536653"/>
            <a:ext cx="0" cy="201707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ounded Rectangle 157"/>
          <p:cNvSpPr/>
          <p:nvPr userDrawn="1"/>
        </p:nvSpPr>
        <p:spPr>
          <a:xfrm>
            <a:off x="4486667" y="27076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59" name="Rounded Rectangle 158"/>
          <p:cNvSpPr/>
          <p:nvPr userDrawn="1"/>
        </p:nvSpPr>
        <p:spPr>
          <a:xfrm>
            <a:off x="3944994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60" name="Rounded Rectangle 159"/>
          <p:cNvSpPr/>
          <p:nvPr userDrawn="1"/>
        </p:nvSpPr>
        <p:spPr>
          <a:xfrm>
            <a:off x="3944994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61" name="Rounded Rectangle 160"/>
          <p:cNvSpPr/>
          <p:nvPr userDrawn="1"/>
        </p:nvSpPr>
        <p:spPr>
          <a:xfrm>
            <a:off x="3944994" y="47400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62" name="Rounded Rectangle 161"/>
          <p:cNvSpPr/>
          <p:nvPr userDrawn="1"/>
        </p:nvSpPr>
        <p:spPr>
          <a:xfrm>
            <a:off x="3944994" y="5376518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63" name="Straight Connector 162"/>
          <p:cNvCxnSpPr/>
          <p:nvPr userDrawn="1"/>
        </p:nvCxnSpPr>
        <p:spPr>
          <a:xfrm>
            <a:off x="5929384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Connector 163"/>
          <p:cNvCxnSpPr/>
          <p:nvPr userDrawn="1"/>
        </p:nvCxnSpPr>
        <p:spPr>
          <a:xfrm flipH="1">
            <a:off x="5750906" y="3705221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4" name="Rounded Rectangle 173"/>
          <p:cNvSpPr/>
          <p:nvPr userDrawn="1"/>
        </p:nvSpPr>
        <p:spPr>
          <a:xfrm>
            <a:off x="6849250" y="2723664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75" name="Rounded Rectangle 174"/>
          <p:cNvSpPr/>
          <p:nvPr userDrawn="1"/>
        </p:nvSpPr>
        <p:spPr>
          <a:xfrm>
            <a:off x="6307577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76" name="Rounded Rectangle 175"/>
          <p:cNvSpPr/>
          <p:nvPr userDrawn="1"/>
        </p:nvSpPr>
        <p:spPr>
          <a:xfrm>
            <a:off x="6307577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77" name="Straight Connector 176"/>
          <p:cNvCxnSpPr/>
          <p:nvPr userDrawn="1"/>
        </p:nvCxnSpPr>
        <p:spPr>
          <a:xfrm>
            <a:off x="8291967" y="3281832"/>
            <a:ext cx="0" cy="1068546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0" name="Rounded Rectangle 179"/>
          <p:cNvSpPr/>
          <p:nvPr userDrawn="1"/>
        </p:nvSpPr>
        <p:spPr>
          <a:xfrm>
            <a:off x="9018042" y="3445559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81" name="Rounded Rectangle 180"/>
          <p:cNvSpPr/>
          <p:nvPr userDrawn="1"/>
        </p:nvSpPr>
        <p:spPr>
          <a:xfrm>
            <a:off x="8476369" y="417734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82" name="Rounded Rectangle 181"/>
          <p:cNvSpPr/>
          <p:nvPr userDrawn="1"/>
        </p:nvSpPr>
        <p:spPr>
          <a:xfrm>
            <a:off x="8476369" y="4830540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83" name="Rounded Rectangle 182"/>
          <p:cNvSpPr/>
          <p:nvPr userDrawn="1"/>
        </p:nvSpPr>
        <p:spPr>
          <a:xfrm>
            <a:off x="8476369" y="546191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85" name="Straight Connector 184"/>
          <p:cNvCxnSpPr/>
          <p:nvPr userDrawn="1"/>
        </p:nvCxnSpPr>
        <p:spPr>
          <a:xfrm>
            <a:off x="10460759" y="4003727"/>
            <a:ext cx="0" cy="171585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Connector 185"/>
          <p:cNvCxnSpPr/>
          <p:nvPr userDrawn="1"/>
        </p:nvCxnSpPr>
        <p:spPr>
          <a:xfrm flipH="1">
            <a:off x="10291074" y="4427116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Straight Connector 198"/>
          <p:cNvCxnSpPr/>
          <p:nvPr userDrawn="1"/>
        </p:nvCxnSpPr>
        <p:spPr>
          <a:xfrm>
            <a:off x="7834403" y="2530167"/>
            <a:ext cx="0" cy="177457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Straight Connector 199"/>
          <p:cNvCxnSpPr/>
          <p:nvPr userDrawn="1"/>
        </p:nvCxnSpPr>
        <p:spPr>
          <a:xfrm flipH="1">
            <a:off x="6322237" y="1853247"/>
            <a:ext cx="3545495" cy="0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Straight Connector 200"/>
          <p:cNvCxnSpPr/>
          <p:nvPr userDrawn="1"/>
        </p:nvCxnSpPr>
        <p:spPr>
          <a:xfrm flipV="1">
            <a:off x="9867731" y="1852539"/>
            <a:ext cx="0" cy="1560250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Straight Connector 205"/>
          <p:cNvCxnSpPr/>
          <p:nvPr userDrawn="1"/>
        </p:nvCxnSpPr>
        <p:spPr>
          <a:xfrm flipH="1">
            <a:off x="8104941" y="3725455"/>
            <a:ext cx="18702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0" name="Rounded Rectangle 209"/>
          <p:cNvSpPr/>
          <p:nvPr userDrawn="1"/>
        </p:nvSpPr>
        <p:spPr>
          <a:xfrm>
            <a:off x="4486667" y="160589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20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610101" y="1738625"/>
            <a:ext cx="1514475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09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610101" y="1903356"/>
            <a:ext cx="1514475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 baseline="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04649" y="2841098"/>
            <a:ext cx="1514475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2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604649" y="3005829"/>
            <a:ext cx="1514475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3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976374" y="2841098"/>
            <a:ext cx="1514475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4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6976374" y="3005829"/>
            <a:ext cx="1514475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5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2239275" y="2841098"/>
            <a:ext cx="1514475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6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2239275" y="3005829"/>
            <a:ext cx="1514475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17" name="Straight Connector 216"/>
          <p:cNvCxnSpPr/>
          <p:nvPr userDrawn="1"/>
        </p:nvCxnSpPr>
        <p:spPr>
          <a:xfrm flipH="1">
            <a:off x="8104941" y="4350930"/>
            <a:ext cx="18702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8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1661425" y="3578460"/>
            <a:ext cx="1514475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9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1661425" y="3743191"/>
            <a:ext cx="1514475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20" name="Straight Connector 219"/>
          <p:cNvCxnSpPr/>
          <p:nvPr userDrawn="1"/>
        </p:nvCxnSpPr>
        <p:spPr>
          <a:xfrm flipH="1">
            <a:off x="3331589" y="3734428"/>
            <a:ext cx="18702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/>
          <p:cNvCxnSpPr/>
          <p:nvPr userDrawn="1"/>
        </p:nvCxnSpPr>
        <p:spPr>
          <a:xfrm flipH="1">
            <a:off x="3331589" y="5007603"/>
            <a:ext cx="18702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/>
          <p:cNvCxnSpPr/>
          <p:nvPr userDrawn="1"/>
        </p:nvCxnSpPr>
        <p:spPr>
          <a:xfrm flipH="1">
            <a:off x="3331589" y="5633078"/>
            <a:ext cx="18702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1661425" y="4241273"/>
            <a:ext cx="1514475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4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1661425" y="4406004"/>
            <a:ext cx="1514475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25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1661425" y="4869923"/>
            <a:ext cx="1514475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6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1661425" y="5034654"/>
            <a:ext cx="1514475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27" name="Text Placeholder 7"/>
          <p:cNvSpPr>
            <a:spLocks noGrp="1"/>
          </p:cNvSpPr>
          <p:nvPr>
            <p:ph type="body" sz="quarter" idx="25" hasCustomPrompt="1"/>
          </p:nvPr>
        </p:nvSpPr>
        <p:spPr>
          <a:xfrm>
            <a:off x="1661425" y="5508098"/>
            <a:ext cx="1514475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8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1661425" y="5672829"/>
            <a:ext cx="1514475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0" name="Text Placeholder 7"/>
          <p:cNvSpPr>
            <a:spLocks noGrp="1"/>
          </p:cNvSpPr>
          <p:nvPr>
            <p:ph type="body" sz="quarter" idx="27" hasCustomPrompt="1"/>
          </p:nvPr>
        </p:nvSpPr>
        <p:spPr>
          <a:xfrm>
            <a:off x="4063965" y="3578460"/>
            <a:ext cx="1514475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1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4063965" y="3743191"/>
            <a:ext cx="1514475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2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4063965" y="4241273"/>
            <a:ext cx="1514475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3" name="Text Placeholder 7"/>
          <p:cNvSpPr>
            <a:spLocks noGrp="1"/>
          </p:cNvSpPr>
          <p:nvPr>
            <p:ph type="body" sz="quarter" idx="30" hasCustomPrompt="1"/>
          </p:nvPr>
        </p:nvSpPr>
        <p:spPr>
          <a:xfrm>
            <a:off x="4063965" y="4406004"/>
            <a:ext cx="1514475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4" name="Text Placeholder 7"/>
          <p:cNvSpPr>
            <a:spLocks noGrp="1"/>
          </p:cNvSpPr>
          <p:nvPr>
            <p:ph type="body" sz="quarter" idx="31" hasCustomPrompt="1"/>
          </p:nvPr>
        </p:nvSpPr>
        <p:spPr>
          <a:xfrm>
            <a:off x="4063965" y="4869923"/>
            <a:ext cx="1514475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5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4063965" y="5034654"/>
            <a:ext cx="1514475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6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4063965" y="5508098"/>
            <a:ext cx="1514475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7" name="Text Placeholder 7"/>
          <p:cNvSpPr>
            <a:spLocks noGrp="1"/>
          </p:cNvSpPr>
          <p:nvPr>
            <p:ph type="body" sz="quarter" idx="34" hasCustomPrompt="1"/>
          </p:nvPr>
        </p:nvSpPr>
        <p:spPr>
          <a:xfrm>
            <a:off x="4063965" y="5672829"/>
            <a:ext cx="1514475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5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8600107" y="4312986"/>
            <a:ext cx="1514475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46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8600107" y="4477717"/>
            <a:ext cx="1514475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7" name="Text Placeholder 7"/>
          <p:cNvSpPr>
            <a:spLocks noGrp="1"/>
          </p:cNvSpPr>
          <p:nvPr>
            <p:ph type="body" sz="quarter" idx="37" hasCustomPrompt="1"/>
          </p:nvPr>
        </p:nvSpPr>
        <p:spPr>
          <a:xfrm>
            <a:off x="8600107" y="4941636"/>
            <a:ext cx="1514475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48" name="Text Placeholder 7"/>
          <p:cNvSpPr>
            <a:spLocks noGrp="1"/>
          </p:cNvSpPr>
          <p:nvPr>
            <p:ph type="body" sz="quarter" idx="38" hasCustomPrompt="1"/>
          </p:nvPr>
        </p:nvSpPr>
        <p:spPr>
          <a:xfrm>
            <a:off x="8600107" y="5106367"/>
            <a:ext cx="1514475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9" name="Text Placeholder 7"/>
          <p:cNvSpPr>
            <a:spLocks noGrp="1"/>
          </p:cNvSpPr>
          <p:nvPr>
            <p:ph type="body" sz="quarter" idx="39" hasCustomPrompt="1"/>
          </p:nvPr>
        </p:nvSpPr>
        <p:spPr>
          <a:xfrm>
            <a:off x="8600107" y="5579811"/>
            <a:ext cx="1514475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0" name="Text Placeholder 7"/>
          <p:cNvSpPr>
            <a:spLocks noGrp="1"/>
          </p:cNvSpPr>
          <p:nvPr>
            <p:ph type="body" sz="quarter" idx="40" hasCustomPrompt="1"/>
          </p:nvPr>
        </p:nvSpPr>
        <p:spPr>
          <a:xfrm>
            <a:off x="8600107" y="5744542"/>
            <a:ext cx="1514475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1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6436625" y="3578460"/>
            <a:ext cx="1514475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2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6436625" y="3743191"/>
            <a:ext cx="1514475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3" name="Text Placeholder 7"/>
          <p:cNvSpPr>
            <a:spLocks noGrp="1"/>
          </p:cNvSpPr>
          <p:nvPr>
            <p:ph type="body" sz="quarter" idx="43" hasCustomPrompt="1"/>
          </p:nvPr>
        </p:nvSpPr>
        <p:spPr>
          <a:xfrm>
            <a:off x="6436625" y="4241273"/>
            <a:ext cx="1514475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4" name="Text Placeholder 7"/>
          <p:cNvSpPr>
            <a:spLocks noGrp="1"/>
          </p:cNvSpPr>
          <p:nvPr>
            <p:ph type="body" sz="quarter" idx="44" hasCustomPrompt="1"/>
          </p:nvPr>
        </p:nvSpPr>
        <p:spPr>
          <a:xfrm>
            <a:off x="6436625" y="4406004"/>
            <a:ext cx="1514475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5" name="Text Placeholder 7"/>
          <p:cNvSpPr>
            <a:spLocks noGrp="1"/>
          </p:cNvSpPr>
          <p:nvPr>
            <p:ph type="body" sz="quarter" idx="45" hasCustomPrompt="1"/>
          </p:nvPr>
        </p:nvSpPr>
        <p:spPr>
          <a:xfrm>
            <a:off x="9161895" y="3578460"/>
            <a:ext cx="1514475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6" name="Text Placeholder 7"/>
          <p:cNvSpPr>
            <a:spLocks noGrp="1"/>
          </p:cNvSpPr>
          <p:nvPr>
            <p:ph type="body" sz="quarter" idx="46" hasCustomPrompt="1"/>
          </p:nvPr>
        </p:nvSpPr>
        <p:spPr>
          <a:xfrm>
            <a:off x="9161895" y="3743191"/>
            <a:ext cx="1514475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57" name="Straight Connector 256"/>
          <p:cNvCxnSpPr/>
          <p:nvPr userDrawn="1"/>
        </p:nvCxnSpPr>
        <p:spPr>
          <a:xfrm flipH="1">
            <a:off x="10291074" y="5104123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8" name="Straight Connector 257"/>
          <p:cNvCxnSpPr/>
          <p:nvPr userDrawn="1"/>
        </p:nvCxnSpPr>
        <p:spPr>
          <a:xfrm flipH="1">
            <a:off x="10291074" y="5719585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9" name="Straight Connector 258"/>
          <p:cNvCxnSpPr/>
          <p:nvPr userDrawn="1"/>
        </p:nvCxnSpPr>
        <p:spPr>
          <a:xfrm flipH="1">
            <a:off x="5750906" y="4377832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0" name="Straight Connector 259"/>
          <p:cNvCxnSpPr/>
          <p:nvPr userDrawn="1"/>
        </p:nvCxnSpPr>
        <p:spPr>
          <a:xfrm flipH="1">
            <a:off x="5750906" y="5024067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Straight Connector 260"/>
          <p:cNvCxnSpPr/>
          <p:nvPr userDrawn="1"/>
        </p:nvCxnSpPr>
        <p:spPr>
          <a:xfrm flipH="1">
            <a:off x="5750906" y="5630736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72375231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. Strategy Slid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ACFBB21C-610C-4479-8329-40032A76CE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8596668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ACFBB21C-610C-4479-8329-40032A76CE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5D26391B-1B66-41F8-9FF7-E099C58466D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2"/>
            <a:ext cx="9966660" cy="6558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BLANK SLIDE FOR BESPOKE USE.</a:t>
            </a:r>
          </a:p>
        </p:txBody>
      </p:sp>
      <p:sp>
        <p:nvSpPr>
          <p:cNvPr id="7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7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3316655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. Strategy Slide - 3 Numbered Boxes with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112838E-A9A3-429F-9DAF-B1CB53B26D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2426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112838E-A9A3-429F-9DAF-B1CB53B26D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EC6C8472-1441-4E04-8D06-5FFE59E7071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58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NUMBERED BOXES WITH TEXT/BULLET POINTS.</a:t>
            </a:r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03A174AE-BB7A-4AB0-9DF5-4628D606C30C}" type="datetime2">
              <a:rPr lang="en-US" smtClean="0"/>
              <a:t>Sunday, October 19, 2025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304418" y="2323839"/>
            <a:ext cx="2737494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073149" y="1933792"/>
            <a:ext cx="2968763" cy="323086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841881" y="1850814"/>
            <a:ext cx="462537" cy="4625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841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923918" y="2323839"/>
            <a:ext cx="2737494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49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4692649" y="1933792"/>
            <a:ext cx="2968763" cy="323086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4461381" y="1850814"/>
            <a:ext cx="462537" cy="462537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1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4613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543418" y="2323839"/>
            <a:ext cx="2737494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55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8312149" y="1933792"/>
            <a:ext cx="2968763" cy="323086"/>
          </a:xfrm>
          <a:prstGeom prst="rect">
            <a:avLst/>
          </a:prstGeom>
          <a:solidFill>
            <a:schemeClr val="accent3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6" name="Oval 55"/>
          <p:cNvSpPr/>
          <p:nvPr userDrawn="1"/>
        </p:nvSpPr>
        <p:spPr>
          <a:xfrm>
            <a:off x="8080881" y="1850814"/>
            <a:ext cx="462537" cy="46253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7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8080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92831750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. Strategy Slide Blank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5F9DF8BF-4474-44F7-AE1B-863796BE7E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7136188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5F9DF8BF-4474-44F7-AE1B-863796BE7E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723BE91F-E086-4328-991A-FA2D4453FC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4"/>
            <a:ext cx="9966660" cy="65885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NFIDENTIAL SLIDE.</a:t>
            </a:r>
          </a:p>
        </p:txBody>
      </p:sp>
      <p:sp>
        <p:nvSpPr>
          <p:cNvPr id="5" name="Parallelogram 4"/>
          <p:cNvSpPr/>
          <p:nvPr userDrawn="1"/>
        </p:nvSpPr>
        <p:spPr>
          <a:xfrm rot="10800000" flipH="1">
            <a:off x="9353006" y="3501"/>
            <a:ext cx="1514367" cy="998836"/>
          </a:xfrm>
          <a:prstGeom prst="parallelogram">
            <a:avLst>
              <a:gd name="adj" fmla="val 100977"/>
            </a:avLst>
          </a:prstGeom>
          <a:solidFill>
            <a:schemeClr val="accent4"/>
          </a:solidFill>
          <a:ln>
            <a:noFill/>
          </a:ln>
          <a:effectLst>
            <a:outerShdw blurRad="381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180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 rot="2653766">
            <a:off x="9346485" y="320608"/>
            <a:ext cx="1546873" cy="3552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NFIDENTIAL</a:t>
            </a:r>
          </a:p>
        </p:txBody>
      </p:sp>
      <p:sp>
        <p:nvSpPr>
          <p:cNvPr id="6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65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65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81992570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. Strategy Slide Executiv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DC98AC7D-41B1-4045-9CA8-8517755F5A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014549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DC98AC7D-41B1-4045-9CA8-8517755F5A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DD66F303-136E-4BA9-A511-851CF4B7E5A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2"/>
            <a:ext cx="9966660" cy="6304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EXECUTIVE SUMMARY SLIDE.</a:t>
            </a:r>
          </a:p>
        </p:txBody>
      </p:sp>
      <p:sp>
        <p:nvSpPr>
          <p:cNvPr id="35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736572" y="1548822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| 01</a:t>
            </a:r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557294" y="1550219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br>
              <a:rPr lang="en-US"/>
            </a:br>
            <a:r>
              <a:rPr lang="en-US"/>
              <a:t>• 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38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36572" y="2462735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| 02</a:t>
            </a:r>
          </a:p>
        </p:txBody>
      </p:sp>
      <p:sp>
        <p:nvSpPr>
          <p:cNvPr id="41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36571" y="3380925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/>
              <a:t>| 03</a:t>
            </a:r>
          </a:p>
        </p:txBody>
      </p:sp>
      <p:sp>
        <p:nvSpPr>
          <p:cNvPr id="44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736571" y="4298841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| 04</a:t>
            </a:r>
          </a:p>
        </p:txBody>
      </p:sp>
      <p:sp>
        <p:nvSpPr>
          <p:cNvPr id="50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736571" y="5184793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| 05</a:t>
            </a:r>
          </a:p>
        </p:txBody>
      </p:sp>
      <p:sp>
        <p:nvSpPr>
          <p:cNvPr id="52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1557294" y="2462735"/>
            <a:ext cx="5284941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br>
              <a:rPr lang="en-US"/>
            </a:br>
            <a:r>
              <a:rPr lang="en-US"/>
              <a:t>• Lea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</a:p>
        </p:txBody>
      </p:sp>
      <p:sp>
        <p:nvSpPr>
          <p:cNvPr id="53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1557294" y="3376284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br>
              <a:rPr lang="en-US"/>
            </a:br>
            <a:r>
              <a:rPr lang="en-US"/>
              <a:t>•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endParaRPr lang="en-US"/>
          </a:p>
        </p:txBody>
      </p:sp>
      <p:sp>
        <p:nvSpPr>
          <p:cNvPr id="54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1557294" y="4297541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br>
              <a:rPr lang="en-US"/>
            </a:br>
            <a:r>
              <a:rPr lang="en-US"/>
              <a:t>•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 </a:t>
            </a:r>
            <a:r>
              <a:rPr lang="en-US" err="1"/>
              <a:t>prompta</a:t>
            </a:r>
            <a:r>
              <a:rPr lang="en-US"/>
              <a:t> qui no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55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1557294" y="5187111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imperdie</a:t>
            </a:r>
            <a:br>
              <a:rPr lang="en-US"/>
            </a:br>
            <a:r>
              <a:rPr lang="en-US"/>
              <a:t>•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</a:p>
        </p:txBody>
      </p:sp>
      <p:sp>
        <p:nvSpPr>
          <p:cNvPr id="5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5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5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18290037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1839897"/>
              </p:ext>
            </p:extLst>
          </p:nvPr>
        </p:nvGraphicFramePr>
        <p:xfrm>
          <a:off x="2122" y="1596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73" imgH="473" progId="TCLayout.ActiveDocument.1">
                  <p:embed/>
                </p:oleObj>
              </mc:Choice>
              <mc:Fallback>
                <p:oleObj name="Diapositiva de think-cell" r:id="rId4" imgW="473" imgH="47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2" y="1596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85A802FE-64CC-49B5-BA41-463B2789FDB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D05E536-226C-4ACD-A419-14AC5EC82C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809" y="217464"/>
            <a:ext cx="10512000" cy="435600"/>
          </a:xfrm>
          <a:prstGeom prst="rect">
            <a:avLst/>
          </a:prstGeom>
        </p:spPr>
        <p:txBody>
          <a:bodyPr wrap="square" lIns="0" rIns="0"/>
          <a:lstStyle>
            <a:lvl1pPr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928486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7">
          <p15:clr>
            <a:srgbClr val="FBAE40"/>
          </p15:clr>
        </p15:guide>
        <p15:guide id="2" pos="2880">
          <p15:clr>
            <a:srgbClr val="FBAE40"/>
          </p15:clr>
        </p15:guide>
        <p15:guide id="3" pos="187">
          <p15:clr>
            <a:srgbClr val="FBAE40"/>
          </p15:clr>
        </p15:guide>
        <p15:guide id="4" pos="5573">
          <p15:clr>
            <a:srgbClr val="FBAE40"/>
          </p15:clr>
        </p15:guide>
        <p15:guide id="5" orient="horz" pos="743">
          <p15:clr>
            <a:srgbClr val="FBAE40"/>
          </p15:clr>
        </p15:guide>
        <p15:guide id="6" orient="horz" pos="4031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5078920"/>
              </p:ext>
            </p:extLst>
          </p:nvPr>
        </p:nvGraphicFramePr>
        <p:xfrm>
          <a:off x="2131" y="159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92" imgH="504" progId="TCLayout.ActiveDocument.1">
                  <p:embed/>
                </p:oleObj>
              </mc:Choice>
              <mc:Fallback>
                <p:oleObj name="Diapositiva de think-cell" r:id="rId4" imgW="492" imgH="504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31" y="1597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>
            <a:extLst>
              <a:ext uri="{FF2B5EF4-FFF2-40B4-BE49-F238E27FC236}">
                <a16:creationId xmlns:a16="http://schemas.microsoft.com/office/drawing/2014/main" id="{2A263A6D-4296-4D88-9EEA-CBD9F29E642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Rectángulo 1"/>
          <p:cNvSpPr/>
          <p:nvPr userDrawn="1"/>
        </p:nvSpPr>
        <p:spPr>
          <a:xfrm>
            <a:off x="10880787" y="163902"/>
            <a:ext cx="1150188" cy="9230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915160" y="6602596"/>
            <a:ext cx="2844800" cy="248530"/>
          </a:xfrm>
          <a:prstGeom prst="rect">
            <a:avLst/>
          </a:prstGeom>
        </p:spPr>
        <p:txBody>
          <a:bodyPr vert="horz" lIns="91440" tIns="45720" rIns="0" bIns="45720" rtlCol="0" anchor="ctr">
            <a:spAutoFit/>
          </a:bodyPr>
          <a:lstStyle>
            <a:lvl1pPr algn="r">
              <a:defRPr sz="1015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286109" y="270232"/>
            <a:ext cx="10515600" cy="402626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+mj-lt"/>
              </a:defRPr>
            </a:lvl1pPr>
          </a:lstStyle>
          <a:p>
            <a:r>
              <a:rPr lang="en-US"/>
              <a:t>Haga clic para modificar el estilo de título del patrón</a:t>
            </a:r>
          </a:p>
        </p:txBody>
      </p:sp>
      <p:pic>
        <p:nvPicPr>
          <p:cNvPr id="5" name="Picture 33" descr="Image result for vtr logo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097645" y="189599"/>
            <a:ext cx="801123" cy="49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9729943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93" imgH="493" progId="TCLayout.ActiveDocument.1">
                  <p:embed/>
                </p:oleObj>
              </mc:Choice>
              <mc:Fallback>
                <p:oleObj name="Diapositiva de think-cell" r:id="rId3" imgW="493" imgH="493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419" y="102818"/>
            <a:ext cx="11778796" cy="29313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470141" y="1306077"/>
            <a:ext cx="11251729" cy="509677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altLang="zh-CN" sz="2172" kern="1200" baseline="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48087" lvl="0" indent="-249430" algn="l" defTabSz="901451" rtl="0" eaLnBrk="1" fontAlgn="base" latinLnBrk="0" hangingPunct="1">
              <a:lnSpc>
                <a:spcPct val="150000"/>
              </a:lnSpc>
              <a:spcBef>
                <a:spcPts val="551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</a:pPr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77617385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6550354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876988"/>
            <a:ext cx="12192000" cy="56517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400">
              <a:latin typeface="Corbel" panose="020B0503020204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6400" y="-1"/>
            <a:ext cx="11476299" cy="876988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dirty="0">
                <a:latin typeface="Corbel" panose="020B0503020204020204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6400" y="1092200"/>
            <a:ext cx="11480800" cy="5283200"/>
          </a:xfrm>
        </p:spPr>
        <p:txBody>
          <a:bodyPr>
            <a:normAutofit/>
          </a:bodyPr>
          <a:lstStyle>
            <a:lvl1pPr marL="457189" indent="-457189">
              <a:buFont typeface="Arial" pitchFamily="34" charset="0"/>
              <a:buChar char="•"/>
              <a:defRPr sz="2667">
                <a:latin typeface="Corbel" panose="020B0503020204020204" pitchFamily="34" charset="0"/>
              </a:defRPr>
            </a:lvl1pPr>
            <a:lvl2pPr marL="990575" indent="-380990">
              <a:buFont typeface="Arial" pitchFamily="34" charset="0"/>
              <a:buChar char="•"/>
              <a:defRPr sz="2400">
                <a:latin typeface="Corbel" panose="020B0503020204020204" pitchFamily="34" charset="0"/>
              </a:defRPr>
            </a:lvl2pPr>
            <a:lvl3pPr marL="1523962" indent="-304792">
              <a:buFont typeface="Arial" pitchFamily="34" charset="0"/>
              <a:buChar char="•"/>
              <a:defRPr sz="2133">
                <a:latin typeface="Corbel" panose="020B0503020204020204" pitchFamily="34" charset="0"/>
              </a:defRPr>
            </a:lvl3pPr>
            <a:lvl4pPr marL="2133547" indent="-304792">
              <a:buFont typeface="Arial" pitchFamily="34" charset="0"/>
              <a:buChar char="•"/>
              <a:defRPr sz="1867">
                <a:latin typeface="Corbel" panose="020B0503020204020204" pitchFamily="34" charset="0"/>
              </a:defRPr>
            </a:lvl4pPr>
            <a:lvl5pPr marL="2743131" indent="-304792">
              <a:buFont typeface="Arial" pitchFamily="34" charset="0"/>
              <a:buChar char="•"/>
              <a:defRPr sz="1867">
                <a:latin typeface="Corbel" panose="020B05030202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6096000" y="6707262"/>
            <a:ext cx="2032000" cy="2000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933">
                <a:solidFill>
                  <a:schemeClr val="bg1"/>
                </a:solidFill>
                <a:latin typeface="Corbel" panose="020B0503020204020204" pitchFamily="34" charset="0"/>
              </a:rPr>
              <a:t>Confidential &amp; Restricted</a:t>
            </a: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836023" y="6640679"/>
            <a:ext cx="508000" cy="1915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33">
                <a:solidFill>
                  <a:schemeClr val="tx1"/>
                </a:solidFill>
                <a:latin typeface="Corbel" panose="020B0503020204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6" name="Rectangle 15"/>
          <p:cNvSpPr/>
          <p:nvPr userDrawn="1"/>
        </p:nvSpPr>
        <p:spPr>
          <a:xfrm>
            <a:off x="203200" y="6636446"/>
            <a:ext cx="2032000" cy="2000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933">
                <a:solidFill>
                  <a:schemeClr val="tx1"/>
                </a:solidFill>
                <a:latin typeface="Corbel" panose="020B0503020204020204" pitchFamily="34" charset="0"/>
              </a:rPr>
              <a:t>Confidential &amp; Restricted</a:t>
            </a:r>
          </a:p>
        </p:txBody>
      </p:sp>
      <p:pic>
        <p:nvPicPr>
          <p:cNvPr id="17" name="Picture 2" descr="C:\Users\RAGHAV~1.MG\AppData\Local\Temp\Rar$DRa0.974\prodapt-logo-trans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835"/>
          <a:stretch/>
        </p:blipFill>
        <p:spPr bwMode="auto">
          <a:xfrm>
            <a:off x="11074400" y="6599481"/>
            <a:ext cx="808299" cy="2285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ight Triangle 11"/>
          <p:cNvSpPr/>
          <p:nvPr userDrawn="1"/>
        </p:nvSpPr>
        <p:spPr>
          <a:xfrm rot="10800000">
            <a:off x="11487960" y="177801"/>
            <a:ext cx="508800" cy="508800"/>
          </a:xfrm>
          <a:prstGeom prst="rtTriangle">
            <a:avLst/>
          </a:prstGeom>
          <a:solidFill>
            <a:srgbClr val="DD31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65967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Strategy Slide -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C1C7DF17-DA3C-48C3-9DA4-B3581C9447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C1C7DF17-DA3C-48C3-9DA4-B3581C9447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113ED5A2-EF0D-4D88-9E59-8326B064734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431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NTENTS PAGE/SLIDE WITH NUMBERS.</a:t>
            </a:r>
          </a:p>
        </p:txBody>
      </p:sp>
      <p:graphicFrame>
        <p:nvGraphicFramePr>
          <p:cNvPr id="12" name="Table 11"/>
          <p:cNvGraphicFramePr>
            <a:graphicFrameLocks noGrp="1"/>
          </p:cNvGraphicFramePr>
          <p:nvPr userDrawn="1"/>
        </p:nvGraphicFramePr>
        <p:xfrm>
          <a:off x="725212" y="1553302"/>
          <a:ext cx="10773104" cy="4246129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94488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243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INTRODUCTION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6254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FIRST TOPIC HER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  <a:endParaRPr lang="en-US" sz="1200" baseline="0">
                        <a:solidFill>
                          <a:schemeClr val="accent3"/>
                        </a:solidFill>
                      </a:endParaRP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Third Subject Heading Her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3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4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5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3682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SECOND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TOPIC HER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7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8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9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THIRD TOPIC HERE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0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FOURTH TOPIC HERE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62546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FIFTH TOPIC HERE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Third Subject Heading Her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8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19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20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21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SIXTH TOPIC HERE.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2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SEVENTH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TOPIC HER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4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7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45ED85-C121-4CA6-9C0F-F5FD0435769D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Sunday, October 19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13847665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Strategy Slide - Intro Para,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65552740-4228-4285-887F-AB772DF6F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65552740-4228-4285-887F-AB772DF6F5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5F91E1F3-2BEF-4354-937C-2864A86615A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NTRO PARAGRAPH WITH BULLET POINTS AND PICTURE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26231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A93812-1C99-4DA3-9F04-4BE0DDBB6E67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Sunday, October 19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2544166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Strategy Slide - Intro Para, Bullets, 4 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F2899EAE-A1EF-4708-8F2F-C63ED0412F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F2899EAE-A1EF-4708-8F2F-C63ED0412F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03FE2C61-42A3-4EB6-A0AF-222167CA676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NTRO PARAGRAPH WITH BULLET POINTS AND 4 X PICTURES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1" y="15525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26231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37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9804400" y="15525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38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7550151" y="37623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39" name="Picture Placeholder 8"/>
          <p:cNvSpPr>
            <a:spLocks noGrp="1"/>
          </p:cNvSpPr>
          <p:nvPr>
            <p:ph type="pic" sz="quarter" idx="15" hasCustomPrompt="1"/>
          </p:nvPr>
        </p:nvSpPr>
        <p:spPr>
          <a:xfrm>
            <a:off x="9804400" y="37623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40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1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2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67CB4AF-90BF-432B-AE7E-BF2637A8162A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Sunday, October 19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828331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2.png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18" Type="http://schemas.openxmlformats.org/officeDocument/2006/relationships/slideLayout" Target="../slideLayouts/slideLayout52.xml"/><Relationship Id="rId26" Type="http://schemas.openxmlformats.org/officeDocument/2006/relationships/slideLayout" Target="../slideLayouts/slideLayout60.xml"/><Relationship Id="rId3" Type="http://schemas.openxmlformats.org/officeDocument/2006/relationships/slideLayout" Target="../slideLayouts/slideLayout37.xml"/><Relationship Id="rId21" Type="http://schemas.openxmlformats.org/officeDocument/2006/relationships/slideLayout" Target="../slideLayouts/slideLayout55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slideLayout" Target="../slideLayouts/slideLayout51.xml"/><Relationship Id="rId25" Type="http://schemas.openxmlformats.org/officeDocument/2006/relationships/slideLayout" Target="../slideLayouts/slideLayout59.xml"/><Relationship Id="rId2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50.xml"/><Relationship Id="rId20" Type="http://schemas.openxmlformats.org/officeDocument/2006/relationships/slideLayout" Target="../slideLayouts/slideLayout54.xml"/><Relationship Id="rId29" Type="http://schemas.openxmlformats.org/officeDocument/2006/relationships/slideLayout" Target="../slideLayouts/slideLayout63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24" Type="http://schemas.openxmlformats.org/officeDocument/2006/relationships/slideLayout" Target="../slideLayouts/slideLayout58.xml"/><Relationship Id="rId32" Type="http://schemas.openxmlformats.org/officeDocument/2006/relationships/image" Target="../media/image13.png"/><Relationship Id="rId5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9.xml"/><Relationship Id="rId23" Type="http://schemas.openxmlformats.org/officeDocument/2006/relationships/slideLayout" Target="../slideLayouts/slideLayout57.xml"/><Relationship Id="rId28" Type="http://schemas.openxmlformats.org/officeDocument/2006/relationships/slideLayout" Target="../slideLayouts/slideLayout62.xml"/><Relationship Id="rId10" Type="http://schemas.openxmlformats.org/officeDocument/2006/relationships/slideLayout" Target="../slideLayouts/slideLayout44.xml"/><Relationship Id="rId19" Type="http://schemas.openxmlformats.org/officeDocument/2006/relationships/slideLayout" Target="../slideLayouts/slideLayout53.xml"/><Relationship Id="rId31" Type="http://schemas.openxmlformats.org/officeDocument/2006/relationships/theme" Target="../theme/theme2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Relationship Id="rId22" Type="http://schemas.openxmlformats.org/officeDocument/2006/relationships/slideLayout" Target="../slideLayouts/slideLayout56.xml"/><Relationship Id="rId27" Type="http://schemas.openxmlformats.org/officeDocument/2006/relationships/slideLayout" Target="../slideLayouts/slideLayout61.xml"/><Relationship Id="rId30" Type="http://schemas.openxmlformats.org/officeDocument/2006/relationships/slideLayout" Target="../slideLayouts/slideLayout64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7.xml"/><Relationship Id="rId18" Type="http://schemas.openxmlformats.org/officeDocument/2006/relationships/slideLayout" Target="../slideLayouts/slideLayout82.xml"/><Relationship Id="rId26" Type="http://schemas.openxmlformats.org/officeDocument/2006/relationships/slideLayout" Target="../slideLayouts/slideLayout90.xml"/><Relationship Id="rId21" Type="http://schemas.openxmlformats.org/officeDocument/2006/relationships/slideLayout" Target="../slideLayouts/slideLayout85.xml"/><Relationship Id="rId34" Type="http://schemas.openxmlformats.org/officeDocument/2006/relationships/tags" Target="../tags/tag63.xml"/><Relationship Id="rId7" Type="http://schemas.openxmlformats.org/officeDocument/2006/relationships/slideLayout" Target="../slideLayouts/slideLayout71.xml"/><Relationship Id="rId12" Type="http://schemas.openxmlformats.org/officeDocument/2006/relationships/slideLayout" Target="../slideLayouts/slideLayout76.xml"/><Relationship Id="rId17" Type="http://schemas.openxmlformats.org/officeDocument/2006/relationships/slideLayout" Target="../slideLayouts/slideLayout81.xml"/><Relationship Id="rId25" Type="http://schemas.openxmlformats.org/officeDocument/2006/relationships/slideLayout" Target="../slideLayouts/slideLayout89.xml"/><Relationship Id="rId33" Type="http://schemas.openxmlformats.org/officeDocument/2006/relationships/theme" Target="../theme/theme3.xml"/><Relationship Id="rId2" Type="http://schemas.openxmlformats.org/officeDocument/2006/relationships/slideLayout" Target="../slideLayouts/slideLayout66.xml"/><Relationship Id="rId16" Type="http://schemas.openxmlformats.org/officeDocument/2006/relationships/slideLayout" Target="../slideLayouts/slideLayout80.xml"/><Relationship Id="rId20" Type="http://schemas.openxmlformats.org/officeDocument/2006/relationships/slideLayout" Target="../slideLayouts/slideLayout84.xml"/><Relationship Id="rId29" Type="http://schemas.openxmlformats.org/officeDocument/2006/relationships/slideLayout" Target="../slideLayouts/slideLayout93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24" Type="http://schemas.openxmlformats.org/officeDocument/2006/relationships/slideLayout" Target="../slideLayouts/slideLayout88.xml"/><Relationship Id="rId32" Type="http://schemas.openxmlformats.org/officeDocument/2006/relationships/slideLayout" Target="../slideLayouts/slideLayout96.xml"/><Relationship Id="rId37" Type="http://schemas.openxmlformats.org/officeDocument/2006/relationships/image" Target="../media/image2.png"/><Relationship Id="rId5" Type="http://schemas.openxmlformats.org/officeDocument/2006/relationships/slideLayout" Target="../slideLayouts/slideLayout69.xml"/><Relationship Id="rId15" Type="http://schemas.openxmlformats.org/officeDocument/2006/relationships/slideLayout" Target="../slideLayouts/slideLayout79.xml"/><Relationship Id="rId23" Type="http://schemas.openxmlformats.org/officeDocument/2006/relationships/slideLayout" Target="../slideLayouts/slideLayout87.xml"/><Relationship Id="rId28" Type="http://schemas.openxmlformats.org/officeDocument/2006/relationships/slideLayout" Target="../slideLayouts/slideLayout92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74.xml"/><Relationship Id="rId19" Type="http://schemas.openxmlformats.org/officeDocument/2006/relationships/slideLayout" Target="../slideLayouts/slideLayout83.xml"/><Relationship Id="rId31" Type="http://schemas.openxmlformats.org/officeDocument/2006/relationships/slideLayout" Target="../slideLayouts/slideLayout95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slideLayout" Target="../slideLayouts/slideLayout78.xml"/><Relationship Id="rId22" Type="http://schemas.openxmlformats.org/officeDocument/2006/relationships/slideLayout" Target="../slideLayouts/slideLayout86.xml"/><Relationship Id="rId27" Type="http://schemas.openxmlformats.org/officeDocument/2006/relationships/slideLayout" Target="../slideLayouts/slideLayout91.xml"/><Relationship Id="rId30" Type="http://schemas.openxmlformats.org/officeDocument/2006/relationships/slideLayout" Target="../slideLayouts/slideLayout94.xml"/><Relationship Id="rId35" Type="http://schemas.openxmlformats.org/officeDocument/2006/relationships/oleObject" Target="../embeddings/oleObject1.bin"/><Relationship Id="rId8" Type="http://schemas.openxmlformats.org/officeDocument/2006/relationships/slideLayout" Target="../slideLayouts/slideLayout72.xml"/><Relationship Id="rId3" Type="http://schemas.openxmlformats.org/officeDocument/2006/relationships/slideLayout" Target="../slideLayouts/slideLayout67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9.xml"/><Relationship Id="rId18" Type="http://schemas.openxmlformats.org/officeDocument/2006/relationships/slideLayout" Target="../slideLayouts/slideLayout114.xml"/><Relationship Id="rId26" Type="http://schemas.openxmlformats.org/officeDocument/2006/relationships/slideLayout" Target="../slideLayouts/slideLayout122.xml"/><Relationship Id="rId3" Type="http://schemas.openxmlformats.org/officeDocument/2006/relationships/slideLayout" Target="../slideLayouts/slideLayout99.xml"/><Relationship Id="rId21" Type="http://schemas.openxmlformats.org/officeDocument/2006/relationships/slideLayout" Target="../slideLayouts/slideLayout117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103.xml"/><Relationship Id="rId12" Type="http://schemas.openxmlformats.org/officeDocument/2006/relationships/slideLayout" Target="../slideLayouts/slideLayout108.xml"/><Relationship Id="rId17" Type="http://schemas.openxmlformats.org/officeDocument/2006/relationships/slideLayout" Target="../slideLayouts/slideLayout113.xml"/><Relationship Id="rId25" Type="http://schemas.openxmlformats.org/officeDocument/2006/relationships/slideLayout" Target="../slideLayouts/slideLayout121.xml"/><Relationship Id="rId33" Type="http://schemas.openxmlformats.org/officeDocument/2006/relationships/tags" Target="../tags/tag125.xml"/><Relationship Id="rId2" Type="http://schemas.openxmlformats.org/officeDocument/2006/relationships/slideLayout" Target="../slideLayouts/slideLayout98.xml"/><Relationship Id="rId16" Type="http://schemas.openxmlformats.org/officeDocument/2006/relationships/slideLayout" Target="../slideLayouts/slideLayout112.xml"/><Relationship Id="rId20" Type="http://schemas.openxmlformats.org/officeDocument/2006/relationships/slideLayout" Target="../slideLayouts/slideLayout116.xml"/><Relationship Id="rId29" Type="http://schemas.openxmlformats.org/officeDocument/2006/relationships/slideLayout" Target="../slideLayouts/slideLayout125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24" Type="http://schemas.openxmlformats.org/officeDocument/2006/relationships/slideLayout" Target="../slideLayouts/slideLayout120.xml"/><Relationship Id="rId32" Type="http://schemas.openxmlformats.org/officeDocument/2006/relationships/theme" Target="../theme/theme4.xml"/><Relationship Id="rId5" Type="http://schemas.openxmlformats.org/officeDocument/2006/relationships/slideLayout" Target="../slideLayouts/slideLayout101.xml"/><Relationship Id="rId15" Type="http://schemas.openxmlformats.org/officeDocument/2006/relationships/slideLayout" Target="../slideLayouts/slideLayout111.xml"/><Relationship Id="rId23" Type="http://schemas.openxmlformats.org/officeDocument/2006/relationships/slideLayout" Target="../slideLayouts/slideLayout119.xml"/><Relationship Id="rId28" Type="http://schemas.openxmlformats.org/officeDocument/2006/relationships/slideLayout" Target="../slideLayouts/slideLayout124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106.xml"/><Relationship Id="rId19" Type="http://schemas.openxmlformats.org/officeDocument/2006/relationships/slideLayout" Target="../slideLayouts/slideLayout115.xml"/><Relationship Id="rId31" Type="http://schemas.openxmlformats.org/officeDocument/2006/relationships/slideLayout" Target="../slideLayouts/slideLayout127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Relationship Id="rId14" Type="http://schemas.openxmlformats.org/officeDocument/2006/relationships/slideLayout" Target="../slideLayouts/slideLayout110.xml"/><Relationship Id="rId22" Type="http://schemas.openxmlformats.org/officeDocument/2006/relationships/slideLayout" Target="../slideLayouts/slideLayout118.xml"/><Relationship Id="rId27" Type="http://schemas.openxmlformats.org/officeDocument/2006/relationships/slideLayout" Target="../slideLayouts/slideLayout123.xml"/><Relationship Id="rId30" Type="http://schemas.openxmlformats.org/officeDocument/2006/relationships/slideLayout" Target="../slideLayouts/slideLayout126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104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40.xml"/><Relationship Id="rId18" Type="http://schemas.openxmlformats.org/officeDocument/2006/relationships/slideLayout" Target="../slideLayouts/slideLayout145.xml"/><Relationship Id="rId26" Type="http://schemas.openxmlformats.org/officeDocument/2006/relationships/slideLayout" Target="../slideLayouts/slideLayout153.xml"/><Relationship Id="rId39" Type="http://schemas.openxmlformats.org/officeDocument/2006/relationships/image" Target="../media/image1.emf"/><Relationship Id="rId21" Type="http://schemas.openxmlformats.org/officeDocument/2006/relationships/slideLayout" Target="../slideLayouts/slideLayout148.xml"/><Relationship Id="rId34" Type="http://schemas.openxmlformats.org/officeDocument/2006/relationships/slideLayout" Target="../slideLayouts/slideLayout161.xml"/><Relationship Id="rId7" Type="http://schemas.openxmlformats.org/officeDocument/2006/relationships/slideLayout" Target="../slideLayouts/slideLayout134.xml"/><Relationship Id="rId12" Type="http://schemas.openxmlformats.org/officeDocument/2006/relationships/slideLayout" Target="../slideLayouts/slideLayout139.xml"/><Relationship Id="rId17" Type="http://schemas.openxmlformats.org/officeDocument/2006/relationships/slideLayout" Target="../slideLayouts/slideLayout144.xml"/><Relationship Id="rId25" Type="http://schemas.openxmlformats.org/officeDocument/2006/relationships/slideLayout" Target="../slideLayouts/slideLayout152.xml"/><Relationship Id="rId33" Type="http://schemas.openxmlformats.org/officeDocument/2006/relationships/slideLayout" Target="../slideLayouts/slideLayout160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129.xml"/><Relationship Id="rId16" Type="http://schemas.openxmlformats.org/officeDocument/2006/relationships/slideLayout" Target="../slideLayouts/slideLayout143.xml"/><Relationship Id="rId20" Type="http://schemas.openxmlformats.org/officeDocument/2006/relationships/slideLayout" Target="../slideLayouts/slideLayout147.xml"/><Relationship Id="rId29" Type="http://schemas.openxmlformats.org/officeDocument/2006/relationships/slideLayout" Target="../slideLayouts/slideLayout156.xml"/><Relationship Id="rId1" Type="http://schemas.openxmlformats.org/officeDocument/2006/relationships/slideLayout" Target="../slideLayouts/slideLayout128.xml"/><Relationship Id="rId6" Type="http://schemas.openxmlformats.org/officeDocument/2006/relationships/slideLayout" Target="../slideLayouts/slideLayout133.xml"/><Relationship Id="rId11" Type="http://schemas.openxmlformats.org/officeDocument/2006/relationships/slideLayout" Target="../slideLayouts/slideLayout138.xml"/><Relationship Id="rId24" Type="http://schemas.openxmlformats.org/officeDocument/2006/relationships/slideLayout" Target="../slideLayouts/slideLayout151.xml"/><Relationship Id="rId32" Type="http://schemas.openxmlformats.org/officeDocument/2006/relationships/slideLayout" Target="../slideLayouts/slideLayout159.xml"/><Relationship Id="rId37" Type="http://schemas.openxmlformats.org/officeDocument/2006/relationships/tags" Target="../tags/tag190.xml"/><Relationship Id="rId40" Type="http://schemas.openxmlformats.org/officeDocument/2006/relationships/image" Target="../media/image2.png"/><Relationship Id="rId5" Type="http://schemas.openxmlformats.org/officeDocument/2006/relationships/slideLayout" Target="../slideLayouts/slideLayout132.xml"/><Relationship Id="rId15" Type="http://schemas.openxmlformats.org/officeDocument/2006/relationships/slideLayout" Target="../slideLayouts/slideLayout142.xml"/><Relationship Id="rId23" Type="http://schemas.openxmlformats.org/officeDocument/2006/relationships/slideLayout" Target="../slideLayouts/slideLayout150.xml"/><Relationship Id="rId28" Type="http://schemas.openxmlformats.org/officeDocument/2006/relationships/slideLayout" Target="../slideLayouts/slideLayout155.xml"/><Relationship Id="rId36" Type="http://schemas.openxmlformats.org/officeDocument/2006/relationships/theme" Target="../theme/theme5.xml"/><Relationship Id="rId10" Type="http://schemas.openxmlformats.org/officeDocument/2006/relationships/slideLayout" Target="../slideLayouts/slideLayout137.xml"/><Relationship Id="rId19" Type="http://schemas.openxmlformats.org/officeDocument/2006/relationships/slideLayout" Target="../slideLayouts/slideLayout146.xml"/><Relationship Id="rId31" Type="http://schemas.openxmlformats.org/officeDocument/2006/relationships/slideLayout" Target="../slideLayouts/slideLayout158.xml"/><Relationship Id="rId4" Type="http://schemas.openxmlformats.org/officeDocument/2006/relationships/slideLayout" Target="../slideLayouts/slideLayout131.xml"/><Relationship Id="rId9" Type="http://schemas.openxmlformats.org/officeDocument/2006/relationships/slideLayout" Target="../slideLayouts/slideLayout136.xml"/><Relationship Id="rId14" Type="http://schemas.openxmlformats.org/officeDocument/2006/relationships/slideLayout" Target="../slideLayouts/slideLayout141.xml"/><Relationship Id="rId22" Type="http://schemas.openxmlformats.org/officeDocument/2006/relationships/slideLayout" Target="../slideLayouts/slideLayout149.xml"/><Relationship Id="rId27" Type="http://schemas.openxmlformats.org/officeDocument/2006/relationships/slideLayout" Target="../slideLayouts/slideLayout154.xml"/><Relationship Id="rId30" Type="http://schemas.openxmlformats.org/officeDocument/2006/relationships/slideLayout" Target="../slideLayouts/slideLayout157.xml"/><Relationship Id="rId35" Type="http://schemas.openxmlformats.org/officeDocument/2006/relationships/slideLayout" Target="../slideLayouts/slideLayout162.xml"/><Relationship Id="rId8" Type="http://schemas.openxmlformats.org/officeDocument/2006/relationships/slideLayout" Target="../slideLayouts/slideLayout135.xml"/><Relationship Id="rId3" Type="http://schemas.openxmlformats.org/officeDocument/2006/relationships/slideLayout" Target="../slideLayouts/slideLayout1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pattFill prst="pct10">
          <a:fgClr>
            <a:schemeClr val="bg1"/>
          </a:fgClr>
          <a:bgClr>
            <a:schemeClr val="accent6">
              <a:lumMod val="20000"/>
              <a:lumOff val="80000"/>
            </a:schemeClr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C0A5C1F4-BE84-4D24-B015-E089F495B4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41599437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7" imgW="416" imgH="416" progId="TCLayout.ActiveDocument.1">
                  <p:embed/>
                </p:oleObj>
              </mc:Choice>
              <mc:Fallback>
                <p:oleObj name="Diapositiva de think-cell" r:id="rId37" imgW="416" imgH="416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C0A5C1F4-BE84-4D24-B015-E089F495B4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4" name="Group 23"/>
          <p:cNvGrpSpPr/>
          <p:nvPr userDrawn="1"/>
        </p:nvGrpSpPr>
        <p:grpSpPr>
          <a:xfrm>
            <a:off x="182404" y="6464300"/>
            <a:ext cx="3518293" cy="221722"/>
            <a:chOff x="182404" y="6464300"/>
            <a:chExt cx="3518293" cy="221722"/>
          </a:xfrm>
        </p:grpSpPr>
        <p:cxnSp>
          <p:nvCxnSpPr>
            <p:cNvPr id="28" name="Straight Connector 27"/>
            <p:cNvCxnSpPr/>
            <p:nvPr userDrawn="1"/>
          </p:nvCxnSpPr>
          <p:spPr>
            <a:xfrm>
              <a:off x="2548398" y="6558017"/>
              <a:ext cx="1144933" cy="0"/>
            </a:xfrm>
            <a:prstGeom prst="line">
              <a:avLst/>
            </a:prstGeom>
            <a:ln w="38100">
              <a:solidFill>
                <a:schemeClr val="tx1"/>
              </a:solidFill>
              <a:headEnd type="none" w="med" len="med"/>
              <a:tailEnd type="none" w="med" len="med"/>
            </a:ln>
            <a:effectLst>
              <a:outerShdw blurRad="50800" dist="12700" dir="16200000" rotWithShape="0">
                <a:schemeClr val="tx1">
                  <a:lumMod val="50000"/>
                  <a:alpha val="85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1370281" y="6558017"/>
              <a:ext cx="1144933" cy="0"/>
            </a:xfrm>
            <a:prstGeom prst="line">
              <a:avLst/>
            </a:prstGeom>
            <a:ln w="38100">
              <a:solidFill>
                <a:schemeClr val="tx1"/>
              </a:solidFill>
              <a:headEnd type="none" w="med" len="med"/>
              <a:tailEnd type="none" w="med" len="med"/>
            </a:ln>
            <a:effectLst>
              <a:outerShdw blurRad="50800" dist="12700" dir="16200000" rotWithShape="0">
                <a:schemeClr val="tx1">
                  <a:lumMod val="50000"/>
                  <a:alpha val="85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 flipV="1">
              <a:off x="182404" y="6564191"/>
              <a:ext cx="1149102" cy="14409"/>
            </a:xfrm>
            <a:prstGeom prst="line">
              <a:avLst/>
            </a:prstGeom>
            <a:ln w="38100">
              <a:solidFill>
                <a:schemeClr val="accent6">
                  <a:lumMod val="50000"/>
                </a:schemeClr>
              </a:solidFill>
              <a:headEnd type="none" w="med" len="med"/>
              <a:tailEnd type="none" w="med" len="med"/>
            </a:ln>
            <a:effectLst>
              <a:outerShdw blurRad="50800" dist="12700" dir="16200000" rotWithShape="0">
                <a:schemeClr val="tx1">
                  <a:lumMod val="50000"/>
                  <a:alpha val="85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Rounded Rectangle 31"/>
            <p:cNvSpPr/>
            <p:nvPr userDrawn="1"/>
          </p:nvSpPr>
          <p:spPr>
            <a:xfrm>
              <a:off x="2552617" y="6464300"/>
              <a:ext cx="1148080" cy="221722"/>
            </a:xfrm>
            <a:prstGeom prst="round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algn="ctr" eaLnBrk="1"/>
              <a:endParaRPr lang="en-US" sz="1600">
                <a:solidFill>
                  <a:schemeClr val="bg1"/>
                </a:solidFill>
              </a:endParaRPr>
            </a:p>
          </p:txBody>
        </p:sp>
        <p:sp>
          <p:nvSpPr>
            <p:cNvPr id="33" name="Rounded Rectangle 32"/>
            <p:cNvSpPr/>
            <p:nvPr userDrawn="1"/>
          </p:nvSpPr>
          <p:spPr>
            <a:xfrm>
              <a:off x="1366112" y="6464300"/>
              <a:ext cx="1148080" cy="221722"/>
            </a:xfrm>
            <a:prstGeom prst="round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algn="ctr" eaLnBrk="1"/>
              <a:endParaRPr lang="en-US" sz="1600">
                <a:solidFill>
                  <a:schemeClr val="bg1"/>
                </a:solidFill>
              </a:endParaRPr>
            </a:p>
          </p:txBody>
        </p:sp>
        <p:sp>
          <p:nvSpPr>
            <p:cNvPr id="36" name="Rounded Rectangle 35"/>
            <p:cNvSpPr/>
            <p:nvPr userDrawn="1"/>
          </p:nvSpPr>
          <p:spPr>
            <a:xfrm>
              <a:off x="182404" y="6464300"/>
              <a:ext cx="1148080" cy="221722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algn="ctr" eaLnBrk="1"/>
              <a:endParaRPr lang="en-US" sz="1600">
                <a:solidFill>
                  <a:schemeClr val="bg1"/>
                </a:solidFill>
              </a:endParaRPr>
            </a:p>
          </p:txBody>
        </p:sp>
      </p:grpSp>
      <p:sp>
        <p:nvSpPr>
          <p:cNvPr id="26" name="Title Placeholder 1"/>
          <p:cNvSpPr txBox="1">
            <a:spLocks/>
          </p:cNvSpPr>
          <p:nvPr userDrawn="1"/>
        </p:nvSpPr>
        <p:spPr>
          <a:xfrm>
            <a:off x="311873" y="207732"/>
            <a:ext cx="10069255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>
                <a:solidFill>
                  <a:schemeClr val="tx1"/>
                </a:solidFill>
              </a:rPr>
              <a:t>LLA GREEN</a:t>
            </a:r>
            <a:r>
              <a:rPr lang="en-US" sz="2400" baseline="0">
                <a:solidFill>
                  <a:schemeClr val="tx1"/>
                </a:solidFill>
              </a:rPr>
              <a:t> SLIDES – FINANCE US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08080" y="155393"/>
            <a:ext cx="678613" cy="823855"/>
          </a:xfrm>
          <a:prstGeom prst="rect">
            <a:avLst/>
          </a:prstGeom>
          <a:effectLst/>
        </p:spPr>
      </p:pic>
      <p:sp>
        <p:nvSpPr>
          <p:cNvPr id="25" name="Rectangle 24"/>
          <p:cNvSpPr/>
          <p:nvPr userDrawn="1"/>
        </p:nvSpPr>
        <p:spPr>
          <a:xfrm>
            <a:off x="0" y="6575301"/>
            <a:ext cx="12191999" cy="2826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0" y="6560530"/>
            <a:ext cx="12192000" cy="0"/>
          </a:xfrm>
          <a:prstGeom prst="line">
            <a:avLst/>
          </a:prstGeom>
          <a:ln w="38100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/>
          <p:cNvSpPr/>
          <p:nvPr userDrawn="1"/>
        </p:nvSpPr>
        <p:spPr>
          <a:xfrm>
            <a:off x="0" y="-1"/>
            <a:ext cx="11201401" cy="10058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60178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4" r:id="rId1"/>
    <p:sldLayoutId id="2147484285" r:id="rId2"/>
    <p:sldLayoutId id="2147484286" r:id="rId3"/>
    <p:sldLayoutId id="2147484287" r:id="rId4"/>
    <p:sldLayoutId id="2147484288" r:id="rId5"/>
    <p:sldLayoutId id="2147484289" r:id="rId6"/>
    <p:sldLayoutId id="2147484290" r:id="rId7"/>
    <p:sldLayoutId id="2147484291" r:id="rId8"/>
    <p:sldLayoutId id="2147484292" r:id="rId9"/>
    <p:sldLayoutId id="2147484293" r:id="rId10"/>
    <p:sldLayoutId id="2147484294" r:id="rId11"/>
    <p:sldLayoutId id="2147484295" r:id="rId12"/>
    <p:sldLayoutId id="2147484296" r:id="rId13"/>
    <p:sldLayoutId id="2147484297" r:id="rId14"/>
    <p:sldLayoutId id="2147484298" r:id="rId15"/>
    <p:sldLayoutId id="2147484299" r:id="rId16"/>
    <p:sldLayoutId id="2147484300" r:id="rId17"/>
    <p:sldLayoutId id="2147484301" r:id="rId18"/>
    <p:sldLayoutId id="2147484302" r:id="rId19"/>
    <p:sldLayoutId id="2147484303" r:id="rId20"/>
    <p:sldLayoutId id="2147484304" r:id="rId21"/>
    <p:sldLayoutId id="2147484305" r:id="rId22"/>
    <p:sldLayoutId id="2147484306" r:id="rId23"/>
    <p:sldLayoutId id="2147484307" r:id="rId24"/>
    <p:sldLayoutId id="2147484308" r:id="rId25"/>
    <p:sldLayoutId id="2147484309" r:id="rId26"/>
    <p:sldLayoutId id="2147484310" r:id="rId27"/>
    <p:sldLayoutId id="2147484311" r:id="rId28"/>
    <p:sldLayoutId id="2147484312" r:id="rId29"/>
    <p:sldLayoutId id="2147484622" r:id="rId30"/>
    <p:sldLayoutId id="2147484623" r:id="rId31"/>
    <p:sldLayoutId id="2147484624" r:id="rId32"/>
    <p:sldLayoutId id="2147484625" r:id="rId33"/>
    <p:sldLayoutId id="2147484626" r:id="rId3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pattFill prst="pct10">
          <a:fgClr>
            <a:schemeClr val="bg1"/>
          </a:fgClr>
          <a:bgClr>
            <a:schemeClr val="accent6">
              <a:lumMod val="20000"/>
              <a:lumOff val="80000"/>
            </a:schemeClr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53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228600"/>
            <a:ext cx="11576050" cy="5355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9144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Text Placeholder 1"/>
          <p:cNvSpPr>
            <a:spLocks noGrp="1"/>
          </p:cNvSpPr>
          <p:nvPr userDrawn="1">
            <p:ph type="body" idx="1"/>
          </p:nvPr>
        </p:nvSpPr>
        <p:spPr bwMode="gray">
          <a:xfrm>
            <a:off x="304800" y="1325564"/>
            <a:ext cx="11576050" cy="4554536"/>
          </a:xfrm>
          <a:prstGeom prst="rect">
            <a:avLst/>
          </a:prstGeom>
        </p:spPr>
        <p:txBody>
          <a:bodyPr vert="horz" lIns="0" tIns="0" rIns="4572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12"/>
          <p:cNvSpPr txBox="1">
            <a:spLocks/>
          </p:cNvSpPr>
          <p:nvPr userDrawn="1"/>
        </p:nvSpPr>
        <p:spPr bwMode="gray">
          <a:xfrm>
            <a:off x="304801" y="6446090"/>
            <a:ext cx="2957512" cy="96950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lang="en-US" sz="700" b="0" kern="120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4572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9144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3716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18288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algn="l">
              <a:spcBef>
                <a:spcPts val="0"/>
              </a:spcBef>
              <a:spcAft>
                <a:spcPts val="600"/>
              </a:spcAft>
              <a:tabLst>
                <a:tab pos="228600" algn="l"/>
              </a:tabLst>
            </a:pPr>
            <a:fld id="{46808349-582F-4D2B-AF22-1E3714E0589A}" type="slidenum">
              <a:rPr>
                <a:solidFill>
                  <a:srgbClr val="B2B2B2"/>
                </a:solidFill>
              </a:rPr>
              <a:pPr algn="l">
                <a:spcBef>
                  <a:spcPts val="0"/>
                </a:spcBef>
                <a:spcAft>
                  <a:spcPts val="600"/>
                </a:spcAft>
                <a:tabLst>
                  <a:tab pos="228600" algn="l"/>
                </a:tabLst>
              </a:pPr>
              <a:t>‹Nº›</a:t>
            </a:fld>
            <a:r>
              <a:rPr>
                <a:solidFill>
                  <a:srgbClr val="B2B2B2"/>
                </a:solidFill>
              </a:rPr>
              <a:t>	© 2017 Gartner, Inc. and/or its affiliates. All rights reserved.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460359" y="6200775"/>
            <a:ext cx="1420491" cy="3231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5675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85" r:id="rId1"/>
    <p:sldLayoutId id="2147484486" r:id="rId2"/>
    <p:sldLayoutId id="2147484487" r:id="rId3"/>
    <p:sldLayoutId id="2147484488" r:id="rId4"/>
    <p:sldLayoutId id="2147484489" r:id="rId5"/>
    <p:sldLayoutId id="2147484490" r:id="rId6"/>
    <p:sldLayoutId id="2147484491" r:id="rId7"/>
    <p:sldLayoutId id="2147484492" r:id="rId8"/>
    <p:sldLayoutId id="2147484493" r:id="rId9"/>
    <p:sldLayoutId id="2147484494" r:id="rId10"/>
    <p:sldLayoutId id="2147484495" r:id="rId11"/>
    <p:sldLayoutId id="2147484496" r:id="rId12"/>
    <p:sldLayoutId id="2147484497" r:id="rId13"/>
    <p:sldLayoutId id="2147484498" r:id="rId14"/>
    <p:sldLayoutId id="2147484499" r:id="rId15"/>
    <p:sldLayoutId id="2147484500" r:id="rId16"/>
    <p:sldLayoutId id="2147484501" r:id="rId17"/>
    <p:sldLayoutId id="2147484502" r:id="rId18"/>
    <p:sldLayoutId id="2147484503" r:id="rId19"/>
    <p:sldLayoutId id="2147484504" r:id="rId20"/>
    <p:sldLayoutId id="2147484505" r:id="rId21"/>
    <p:sldLayoutId id="2147484506" r:id="rId22"/>
    <p:sldLayoutId id="2147484507" r:id="rId23"/>
    <p:sldLayoutId id="2147484508" r:id="rId24"/>
    <p:sldLayoutId id="2147484509" r:id="rId25"/>
    <p:sldLayoutId id="2147484510" r:id="rId26"/>
    <p:sldLayoutId id="2147484511" r:id="rId27"/>
    <p:sldLayoutId id="2147484512" r:id="rId28"/>
    <p:sldLayoutId id="2147484513" r:id="rId29"/>
    <p:sldLayoutId id="2147484514" r:id="rId30"/>
  </p:sldLayoutIdLst>
  <p:transition/>
  <p:hf sldNum="0" hdr="0" ftr="0" dt="0"/>
  <p:txStyles>
    <p:titleStyle>
      <a:lvl1pPr marL="0" marR="0" indent="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en-US" sz="3200" b="1" dirty="0" smtClean="0">
          <a:solidFill>
            <a:srgbClr val="00529B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00529B"/>
          </a:solidFill>
          <a:latin typeface="Arial" charset="0"/>
          <a:ea typeface="Arial Unicode MS" pitchFamily="34" charset="-128"/>
          <a:cs typeface="Arial Unicode MS" pitchFamily="34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00529B"/>
          </a:solidFill>
          <a:latin typeface="Arial" charset="0"/>
          <a:ea typeface="Arial Unicode MS" pitchFamily="34" charset="-128"/>
          <a:cs typeface="Arial Unicode MS" pitchFamily="34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00529B"/>
          </a:solidFill>
          <a:latin typeface="Arial" charset="0"/>
          <a:ea typeface="Arial Unicode MS" pitchFamily="34" charset="-128"/>
          <a:cs typeface="Arial Unicode MS" pitchFamily="34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00529B"/>
          </a:solidFill>
          <a:latin typeface="Arial" charset="0"/>
          <a:ea typeface="Arial Unicode MS" pitchFamily="34" charset="-128"/>
          <a:cs typeface="Arial Unicode MS" pitchFamily="34" charset="-128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00529B"/>
          </a:solidFill>
          <a:latin typeface="Arial" charset="0"/>
          <a:ea typeface="Arial Unicode MS" pitchFamily="34" charset="-128"/>
          <a:cs typeface="Arial Unicode MS" pitchFamily="34" charset="-128"/>
        </a:defRPr>
      </a:lvl6pPr>
      <a:lvl7pPr marL="914354"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00529B"/>
          </a:solidFill>
          <a:latin typeface="Arial" charset="0"/>
          <a:ea typeface="Arial Unicode MS" pitchFamily="34" charset="-128"/>
          <a:cs typeface="Arial Unicode MS" pitchFamily="34" charset="-128"/>
        </a:defRPr>
      </a:lvl7pPr>
      <a:lvl8pPr marL="1371532"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00529B"/>
          </a:solidFill>
          <a:latin typeface="Arial" charset="0"/>
          <a:ea typeface="Arial Unicode MS" pitchFamily="34" charset="-128"/>
          <a:cs typeface="Arial Unicode MS" pitchFamily="34" charset="-128"/>
        </a:defRPr>
      </a:lvl8pPr>
      <a:lvl9pPr marL="1828709"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00529B"/>
          </a:solidFill>
          <a:latin typeface="Arial" charset="0"/>
          <a:ea typeface="Arial Unicode MS" pitchFamily="34" charset="-128"/>
          <a:cs typeface="Arial Unicode MS" pitchFamily="34" charset="-128"/>
        </a:defRPr>
      </a:lvl9pPr>
    </p:titleStyle>
    <p:bodyStyle>
      <a:lvl1pPr marL="274306" marR="0" indent="-274306" algn="l" rtl="0" eaLnBrk="1" fontAlgn="base" hangingPunct="1">
        <a:lnSpc>
          <a:spcPct val="100000"/>
        </a:lnSpc>
        <a:spcBef>
          <a:spcPts val="0"/>
        </a:spcBef>
        <a:spcAft>
          <a:spcPts val="1200"/>
        </a:spcAft>
        <a:buClr>
          <a:srgbClr val="00529B"/>
        </a:buClr>
        <a:buSzPct val="90000"/>
        <a:buFont typeface="Wingdings" panose="05000000000000000000" pitchFamily="2" charset="2"/>
        <a:buChar char="§"/>
        <a:defRPr lang="en-US" sz="28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640080" marR="0" indent="-274320" algn="l" rtl="0" eaLnBrk="1" fontAlgn="base" hangingPunct="1">
        <a:lnSpc>
          <a:spcPct val="100000"/>
        </a:lnSpc>
        <a:spcBef>
          <a:spcPts val="0"/>
        </a:spcBef>
        <a:spcAft>
          <a:spcPts val="1200"/>
        </a:spcAft>
        <a:buClrTx/>
        <a:buSzPct val="90000"/>
        <a:buFont typeface="Arial" panose="020B0604020202020204" pitchFamily="34" charset="0"/>
        <a:buChar char="–"/>
        <a:tabLst/>
        <a:defRPr lang="en-US" sz="24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914400" marR="0" indent="-274320" algn="l" rtl="0" eaLnBrk="1" fontAlgn="base" hangingPunct="1">
        <a:lnSpc>
          <a:spcPct val="100000"/>
        </a:lnSpc>
        <a:spcBef>
          <a:spcPts val="0"/>
        </a:spcBef>
        <a:spcAft>
          <a:spcPts val="1200"/>
        </a:spcAft>
        <a:buClrTx/>
        <a:buSzPct val="90000"/>
        <a:buFont typeface="Wingdings" panose="05000000000000000000" pitchFamily="2" charset="2"/>
        <a:buChar char="§"/>
        <a:defRPr lang="en-US" sz="2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234440" marR="0" indent="-274320" algn="l" rtl="0" eaLnBrk="1" fontAlgn="base" hangingPunct="1">
        <a:lnSpc>
          <a:spcPct val="100000"/>
        </a:lnSpc>
        <a:spcBef>
          <a:spcPts val="0"/>
        </a:spcBef>
        <a:spcAft>
          <a:spcPts val="1200"/>
        </a:spcAft>
        <a:buClrTx/>
        <a:buSzPct val="90000"/>
        <a:buFont typeface="Arial" panose="020B0604020202020204" pitchFamily="34" charset="0"/>
        <a:buChar char="–"/>
        <a:defRPr lang="en-US" sz="2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508760" marR="0" indent="-274320" algn="l" rtl="0" eaLnBrk="1" fontAlgn="base" hangingPunct="1">
        <a:lnSpc>
          <a:spcPct val="100000"/>
        </a:lnSpc>
        <a:spcBef>
          <a:spcPts val="0"/>
        </a:spcBef>
        <a:spcAft>
          <a:spcPts val="1200"/>
        </a:spcAft>
        <a:buClrTx/>
        <a:buSzPct val="90000"/>
        <a:buFont typeface="Wingdings" panose="05000000000000000000" pitchFamily="2" charset="2"/>
        <a:buChar char="§"/>
        <a:defRPr lang="en-US" sz="2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1954115" indent="-173030" algn="l" rtl="0" eaLnBrk="1" fontAlgn="base" hangingPunct="1">
        <a:lnSpc>
          <a:spcPct val="90000"/>
        </a:lnSpc>
        <a:spcBef>
          <a:spcPct val="30000"/>
        </a:spcBef>
        <a:spcAft>
          <a:spcPct val="10000"/>
        </a:spcAft>
        <a:buClr>
          <a:schemeClr val="tx1"/>
        </a:buClr>
        <a:buFont typeface="Times" pitchFamily="18" charset="0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411293" indent="-173030" algn="l" rtl="0" eaLnBrk="1" fontAlgn="base" hangingPunct="1">
        <a:lnSpc>
          <a:spcPct val="90000"/>
        </a:lnSpc>
        <a:spcBef>
          <a:spcPct val="30000"/>
        </a:spcBef>
        <a:spcAft>
          <a:spcPct val="10000"/>
        </a:spcAft>
        <a:buClr>
          <a:schemeClr val="tx1"/>
        </a:buClr>
        <a:buFont typeface="Times" pitchFamily="18" charset="0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2868471" indent="-173030" algn="l" rtl="0" eaLnBrk="1" fontAlgn="base" hangingPunct="1">
        <a:lnSpc>
          <a:spcPct val="90000"/>
        </a:lnSpc>
        <a:spcBef>
          <a:spcPct val="30000"/>
        </a:spcBef>
        <a:spcAft>
          <a:spcPct val="10000"/>
        </a:spcAft>
        <a:buClr>
          <a:schemeClr val="tx1"/>
        </a:buClr>
        <a:buFont typeface="Times" pitchFamily="18" charset="0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325648" indent="-173030" algn="l" rtl="0" eaLnBrk="1" fontAlgn="base" hangingPunct="1">
        <a:lnSpc>
          <a:spcPct val="90000"/>
        </a:lnSpc>
        <a:spcBef>
          <a:spcPct val="30000"/>
        </a:spcBef>
        <a:spcAft>
          <a:spcPct val="10000"/>
        </a:spcAft>
        <a:buClr>
          <a:schemeClr val="tx1"/>
        </a:buClr>
        <a:buFont typeface="Times" pitchFamily="18" charset="0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391">
          <p15:clr>
            <a:srgbClr val="5ACBF0"/>
          </p15:clr>
        </p15:guide>
        <p15:guide id="2" pos="290">
          <p15:clr>
            <a:srgbClr val="5ACBF0"/>
          </p15:clr>
        </p15:guide>
        <p15:guide id="3" orient="horz" pos="768">
          <p15:clr>
            <a:srgbClr val="5ACBF0"/>
          </p15:clr>
        </p15:guide>
        <p15:guide id="4" orient="horz" pos="4109">
          <p15:clr>
            <a:srgbClr val="5ACBF0"/>
          </p15:clr>
        </p15:guide>
        <p15:guide id="5" orient="horz" pos="835">
          <p15:clr>
            <a:srgbClr val="5ACBF0"/>
          </p15:clr>
        </p15:guide>
        <p15:guide id="6" orient="horz" pos="4056">
          <p15:clr>
            <a:srgbClr val="5ACBF0"/>
          </p15:clr>
        </p15:guide>
        <p15:guide id="7" orient="horz" pos="194">
          <p15:clr>
            <a:srgbClr val="5ACBF0"/>
          </p15:clr>
        </p15:guide>
        <p15:guide id="8" pos="192">
          <p15:clr>
            <a:srgbClr val="5ACBF0"/>
          </p15:clr>
        </p15:guide>
        <p15:guide id="9" pos="7484">
          <p15:clr>
            <a:srgbClr val="5ACBF0"/>
          </p15:clr>
        </p15:guide>
        <p15:guide id="10" orient="horz" pos="3906">
          <p15:clr>
            <a:srgbClr val="5ACBF0"/>
          </p15:clr>
        </p15:guide>
        <p15:guide id="11" pos="1900">
          <p15:clr>
            <a:srgbClr val="5ACBF0"/>
          </p15:clr>
        </p15:guide>
        <p15:guide id="12" pos="2055">
          <p15:clr>
            <a:srgbClr val="5ACBF0"/>
          </p15:clr>
        </p15:guide>
        <p15:guide id="13" pos="3764">
          <p15:clr>
            <a:srgbClr val="5ACBF0"/>
          </p15:clr>
        </p15:guide>
        <p15:guide id="14" pos="3917">
          <p15:clr>
            <a:srgbClr val="5ACBF0"/>
          </p15:clr>
        </p15:guide>
        <p15:guide id="15" pos="5624">
          <p15:clr>
            <a:srgbClr val="5ACBF0"/>
          </p15:clr>
        </p15:guide>
        <p15:guide id="16" pos="5780">
          <p15:clr>
            <a:srgbClr val="5ACBF0"/>
          </p15:clr>
        </p15:guide>
        <p15:guide id="17" orient="horz" pos="3704">
          <p15:clr>
            <a:srgbClr val="FBAE40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pattFill prst="pct10">
          <a:fgClr>
            <a:schemeClr val="bg1"/>
          </a:fgClr>
          <a:bgClr>
            <a:schemeClr val="accent6">
              <a:lumMod val="20000"/>
              <a:lumOff val="80000"/>
            </a:schemeClr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C0A5C1F4-BE84-4D24-B015-E089F495B4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2165628179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5" imgW="416" imgH="416" progId="TCLayout.ActiveDocument.1">
                  <p:embed/>
                </p:oleObj>
              </mc:Choice>
              <mc:Fallback>
                <p:oleObj name="Diapositiva de think-cell" r:id="rId35" imgW="416" imgH="416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C0A5C1F4-BE84-4D24-B015-E089F495B4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4" name="Group 23"/>
          <p:cNvGrpSpPr/>
          <p:nvPr userDrawn="1"/>
        </p:nvGrpSpPr>
        <p:grpSpPr>
          <a:xfrm>
            <a:off x="182404" y="6464300"/>
            <a:ext cx="3518293" cy="221722"/>
            <a:chOff x="182404" y="6464300"/>
            <a:chExt cx="3518293" cy="221722"/>
          </a:xfrm>
        </p:grpSpPr>
        <p:cxnSp>
          <p:nvCxnSpPr>
            <p:cNvPr id="28" name="Straight Connector 27"/>
            <p:cNvCxnSpPr/>
            <p:nvPr userDrawn="1"/>
          </p:nvCxnSpPr>
          <p:spPr>
            <a:xfrm>
              <a:off x="2548398" y="6558017"/>
              <a:ext cx="1144933" cy="0"/>
            </a:xfrm>
            <a:prstGeom prst="line">
              <a:avLst/>
            </a:prstGeom>
            <a:ln w="38100">
              <a:solidFill>
                <a:schemeClr val="tx1"/>
              </a:solidFill>
              <a:headEnd type="none" w="med" len="med"/>
              <a:tailEnd type="none" w="med" len="med"/>
            </a:ln>
            <a:effectLst>
              <a:outerShdw blurRad="50800" dist="12700" dir="16200000" rotWithShape="0">
                <a:schemeClr val="tx1">
                  <a:lumMod val="50000"/>
                  <a:alpha val="85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1370281" y="6558017"/>
              <a:ext cx="1144933" cy="0"/>
            </a:xfrm>
            <a:prstGeom prst="line">
              <a:avLst/>
            </a:prstGeom>
            <a:ln w="38100">
              <a:solidFill>
                <a:schemeClr val="tx1"/>
              </a:solidFill>
              <a:headEnd type="none" w="med" len="med"/>
              <a:tailEnd type="none" w="med" len="med"/>
            </a:ln>
            <a:effectLst>
              <a:outerShdw blurRad="50800" dist="12700" dir="16200000" rotWithShape="0">
                <a:schemeClr val="tx1">
                  <a:lumMod val="50000"/>
                  <a:alpha val="85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 flipV="1">
              <a:off x="182404" y="6564191"/>
              <a:ext cx="1149102" cy="14409"/>
            </a:xfrm>
            <a:prstGeom prst="line">
              <a:avLst/>
            </a:prstGeom>
            <a:ln w="38100">
              <a:solidFill>
                <a:schemeClr val="accent6">
                  <a:lumMod val="50000"/>
                </a:schemeClr>
              </a:solidFill>
              <a:headEnd type="none" w="med" len="med"/>
              <a:tailEnd type="none" w="med" len="med"/>
            </a:ln>
            <a:effectLst>
              <a:outerShdw blurRad="50800" dist="12700" dir="16200000" rotWithShape="0">
                <a:schemeClr val="tx1">
                  <a:lumMod val="50000"/>
                  <a:alpha val="85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Rounded Rectangle 31"/>
            <p:cNvSpPr/>
            <p:nvPr userDrawn="1"/>
          </p:nvSpPr>
          <p:spPr>
            <a:xfrm>
              <a:off x="2552617" y="6464300"/>
              <a:ext cx="1148080" cy="221722"/>
            </a:xfrm>
            <a:prstGeom prst="round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algn="ctr" eaLnBrk="1"/>
              <a:endParaRPr lang="en-US" sz="1600">
                <a:solidFill>
                  <a:schemeClr val="bg1"/>
                </a:solidFill>
              </a:endParaRPr>
            </a:p>
          </p:txBody>
        </p:sp>
        <p:sp>
          <p:nvSpPr>
            <p:cNvPr id="33" name="Rounded Rectangle 32"/>
            <p:cNvSpPr/>
            <p:nvPr userDrawn="1"/>
          </p:nvSpPr>
          <p:spPr>
            <a:xfrm>
              <a:off x="1366112" y="6464300"/>
              <a:ext cx="1148080" cy="221722"/>
            </a:xfrm>
            <a:prstGeom prst="round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algn="ctr" eaLnBrk="1"/>
              <a:endParaRPr lang="en-US" sz="1600">
                <a:solidFill>
                  <a:schemeClr val="bg1"/>
                </a:solidFill>
              </a:endParaRPr>
            </a:p>
          </p:txBody>
        </p:sp>
        <p:sp>
          <p:nvSpPr>
            <p:cNvPr id="36" name="Rounded Rectangle 35"/>
            <p:cNvSpPr/>
            <p:nvPr userDrawn="1"/>
          </p:nvSpPr>
          <p:spPr>
            <a:xfrm>
              <a:off x="182404" y="6464300"/>
              <a:ext cx="1148080" cy="221722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algn="ctr" eaLnBrk="1"/>
              <a:endParaRPr lang="en-US" sz="1600">
                <a:solidFill>
                  <a:schemeClr val="bg1"/>
                </a:solidFill>
              </a:endParaRPr>
            </a:p>
          </p:txBody>
        </p:sp>
      </p:grpSp>
      <p:sp>
        <p:nvSpPr>
          <p:cNvPr id="26" name="Title Placeholder 1"/>
          <p:cNvSpPr txBox="1">
            <a:spLocks/>
          </p:cNvSpPr>
          <p:nvPr userDrawn="1"/>
        </p:nvSpPr>
        <p:spPr>
          <a:xfrm>
            <a:off x="311874" y="207734"/>
            <a:ext cx="10069255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>
                <a:solidFill>
                  <a:schemeClr val="tx1"/>
                </a:solidFill>
              </a:rPr>
              <a:t>LLA GREEN</a:t>
            </a:r>
            <a:r>
              <a:rPr lang="en-US" sz="2400" baseline="0">
                <a:solidFill>
                  <a:schemeClr val="tx1"/>
                </a:solidFill>
              </a:rPr>
              <a:t> SLIDES – FINANCE US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08080" y="155395"/>
            <a:ext cx="678613" cy="823855"/>
          </a:xfrm>
          <a:prstGeom prst="rect">
            <a:avLst/>
          </a:prstGeom>
          <a:effectLst/>
        </p:spPr>
      </p:pic>
      <p:sp>
        <p:nvSpPr>
          <p:cNvPr id="25" name="Rectangle 24"/>
          <p:cNvSpPr/>
          <p:nvPr userDrawn="1"/>
        </p:nvSpPr>
        <p:spPr>
          <a:xfrm>
            <a:off x="2" y="6575303"/>
            <a:ext cx="12191999" cy="2826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0" y="6560530"/>
            <a:ext cx="12192000" cy="0"/>
          </a:xfrm>
          <a:prstGeom prst="line">
            <a:avLst/>
          </a:prstGeom>
          <a:ln w="38100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/>
          <p:cNvSpPr/>
          <p:nvPr userDrawn="1"/>
        </p:nvSpPr>
        <p:spPr>
          <a:xfrm>
            <a:off x="1" y="-1"/>
            <a:ext cx="11201401" cy="10058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69772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18" r:id="rId1"/>
    <p:sldLayoutId id="2147484519" r:id="rId2"/>
    <p:sldLayoutId id="2147484520" r:id="rId3"/>
    <p:sldLayoutId id="2147484521" r:id="rId4"/>
    <p:sldLayoutId id="2147484522" r:id="rId5"/>
    <p:sldLayoutId id="2147484523" r:id="rId6"/>
    <p:sldLayoutId id="2147484524" r:id="rId7"/>
    <p:sldLayoutId id="2147484525" r:id="rId8"/>
    <p:sldLayoutId id="2147484526" r:id="rId9"/>
    <p:sldLayoutId id="2147484527" r:id="rId10"/>
    <p:sldLayoutId id="2147484528" r:id="rId11"/>
    <p:sldLayoutId id="2147484529" r:id="rId12"/>
    <p:sldLayoutId id="2147484530" r:id="rId13"/>
    <p:sldLayoutId id="2147484531" r:id="rId14"/>
    <p:sldLayoutId id="2147484532" r:id="rId15"/>
    <p:sldLayoutId id="2147484533" r:id="rId16"/>
    <p:sldLayoutId id="2147484534" r:id="rId17"/>
    <p:sldLayoutId id="2147484535" r:id="rId18"/>
    <p:sldLayoutId id="2147484536" r:id="rId19"/>
    <p:sldLayoutId id="2147484537" r:id="rId20"/>
    <p:sldLayoutId id="2147484538" r:id="rId21"/>
    <p:sldLayoutId id="2147484539" r:id="rId22"/>
    <p:sldLayoutId id="2147484540" r:id="rId23"/>
    <p:sldLayoutId id="2147484541" r:id="rId24"/>
    <p:sldLayoutId id="2147484542" r:id="rId25"/>
    <p:sldLayoutId id="2147484543" r:id="rId26"/>
    <p:sldLayoutId id="2147484544" r:id="rId27"/>
    <p:sldLayoutId id="2147484545" r:id="rId28"/>
    <p:sldLayoutId id="2147484546" r:id="rId29"/>
    <p:sldLayoutId id="2147484547" r:id="rId30"/>
    <p:sldLayoutId id="2147484548" r:id="rId31"/>
    <p:sldLayoutId id="2147484550" r:id="rId32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pattFill prst="pct10">
          <a:fgClr>
            <a:schemeClr val="bg1"/>
          </a:fgClr>
          <a:bgClr>
            <a:schemeClr val="accent6">
              <a:lumMod val="20000"/>
              <a:lumOff val="80000"/>
            </a:schemeClr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C0A5C1F4-BE84-4D24-B015-E089F495B4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4" imgW="416" imgH="416" progId="TCLayout.ActiveDocument.1">
                  <p:embed/>
                </p:oleObj>
              </mc:Choice>
              <mc:Fallback>
                <p:oleObj name="Diapositiva de think-cell" r:id="rId34" imgW="416" imgH="416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C0A5C1F4-BE84-4D24-B015-E089F495B4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4" name="Group 23"/>
          <p:cNvGrpSpPr/>
          <p:nvPr userDrawn="1"/>
        </p:nvGrpSpPr>
        <p:grpSpPr>
          <a:xfrm>
            <a:off x="182404" y="6464300"/>
            <a:ext cx="3518293" cy="221722"/>
            <a:chOff x="182404" y="6464300"/>
            <a:chExt cx="3518293" cy="221722"/>
          </a:xfrm>
        </p:grpSpPr>
        <p:cxnSp>
          <p:nvCxnSpPr>
            <p:cNvPr id="28" name="Straight Connector 27"/>
            <p:cNvCxnSpPr/>
            <p:nvPr userDrawn="1"/>
          </p:nvCxnSpPr>
          <p:spPr>
            <a:xfrm>
              <a:off x="2548398" y="6558017"/>
              <a:ext cx="1144933" cy="0"/>
            </a:xfrm>
            <a:prstGeom prst="line">
              <a:avLst/>
            </a:prstGeom>
            <a:ln w="38100">
              <a:solidFill>
                <a:schemeClr val="tx1"/>
              </a:solidFill>
              <a:headEnd type="none" w="med" len="med"/>
              <a:tailEnd type="none" w="med" len="med"/>
            </a:ln>
            <a:effectLst>
              <a:outerShdw blurRad="50800" dist="12700" dir="16200000" rotWithShape="0">
                <a:schemeClr val="tx1">
                  <a:lumMod val="50000"/>
                  <a:alpha val="85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1370281" y="6558017"/>
              <a:ext cx="1144933" cy="0"/>
            </a:xfrm>
            <a:prstGeom prst="line">
              <a:avLst/>
            </a:prstGeom>
            <a:ln w="38100">
              <a:solidFill>
                <a:schemeClr val="tx1"/>
              </a:solidFill>
              <a:headEnd type="none" w="med" len="med"/>
              <a:tailEnd type="none" w="med" len="med"/>
            </a:ln>
            <a:effectLst>
              <a:outerShdw blurRad="50800" dist="12700" dir="16200000" rotWithShape="0">
                <a:schemeClr val="tx1">
                  <a:lumMod val="50000"/>
                  <a:alpha val="85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 flipV="1">
              <a:off x="182404" y="6564191"/>
              <a:ext cx="1149102" cy="14409"/>
            </a:xfrm>
            <a:prstGeom prst="line">
              <a:avLst/>
            </a:prstGeom>
            <a:ln w="38100">
              <a:solidFill>
                <a:schemeClr val="accent6">
                  <a:lumMod val="50000"/>
                </a:schemeClr>
              </a:solidFill>
              <a:headEnd type="none" w="med" len="med"/>
              <a:tailEnd type="none" w="med" len="med"/>
            </a:ln>
            <a:effectLst>
              <a:outerShdw blurRad="50800" dist="12700" dir="16200000" rotWithShape="0">
                <a:schemeClr val="tx1">
                  <a:lumMod val="50000"/>
                  <a:alpha val="85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Rounded Rectangle 31"/>
            <p:cNvSpPr/>
            <p:nvPr userDrawn="1"/>
          </p:nvSpPr>
          <p:spPr>
            <a:xfrm>
              <a:off x="2552617" y="6464300"/>
              <a:ext cx="1148080" cy="221722"/>
            </a:xfrm>
            <a:prstGeom prst="round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" name="Rounded Rectangle 32"/>
            <p:cNvSpPr/>
            <p:nvPr userDrawn="1"/>
          </p:nvSpPr>
          <p:spPr>
            <a:xfrm>
              <a:off x="1366112" y="6464300"/>
              <a:ext cx="1148080" cy="221722"/>
            </a:xfrm>
            <a:prstGeom prst="round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" name="Rounded Rectangle 35"/>
            <p:cNvSpPr/>
            <p:nvPr userDrawn="1"/>
          </p:nvSpPr>
          <p:spPr>
            <a:xfrm>
              <a:off x="182404" y="6464300"/>
              <a:ext cx="1148080" cy="221722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26" name="Title Placeholder 1"/>
          <p:cNvSpPr txBox="1">
            <a:spLocks/>
          </p:cNvSpPr>
          <p:nvPr userDrawn="1"/>
        </p:nvSpPr>
        <p:spPr>
          <a:xfrm>
            <a:off x="311873" y="207732"/>
            <a:ext cx="10069255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3E3838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LLA GREEN SLIDES – FINANCE US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08080" y="155393"/>
            <a:ext cx="678613" cy="823855"/>
          </a:xfrm>
          <a:prstGeom prst="rect">
            <a:avLst/>
          </a:prstGeom>
          <a:effectLst/>
        </p:spPr>
      </p:pic>
      <p:sp>
        <p:nvSpPr>
          <p:cNvPr id="25" name="Rectangle 24"/>
          <p:cNvSpPr/>
          <p:nvPr userDrawn="1"/>
        </p:nvSpPr>
        <p:spPr>
          <a:xfrm>
            <a:off x="0" y="6575301"/>
            <a:ext cx="12191999" cy="2826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0" y="6560530"/>
            <a:ext cx="12192000" cy="0"/>
          </a:xfrm>
          <a:prstGeom prst="line">
            <a:avLst/>
          </a:prstGeom>
          <a:ln w="38100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/>
          <p:cNvSpPr/>
          <p:nvPr userDrawn="1"/>
        </p:nvSpPr>
        <p:spPr>
          <a:xfrm>
            <a:off x="0" y="-1"/>
            <a:ext cx="11201401" cy="10058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12371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57" r:id="rId1"/>
    <p:sldLayoutId id="2147484558" r:id="rId2"/>
    <p:sldLayoutId id="2147484559" r:id="rId3"/>
    <p:sldLayoutId id="2147484560" r:id="rId4"/>
    <p:sldLayoutId id="2147484561" r:id="rId5"/>
    <p:sldLayoutId id="2147484562" r:id="rId6"/>
    <p:sldLayoutId id="2147484563" r:id="rId7"/>
    <p:sldLayoutId id="2147484564" r:id="rId8"/>
    <p:sldLayoutId id="2147484565" r:id="rId9"/>
    <p:sldLayoutId id="2147484566" r:id="rId10"/>
    <p:sldLayoutId id="2147484567" r:id="rId11"/>
    <p:sldLayoutId id="2147484568" r:id="rId12"/>
    <p:sldLayoutId id="2147484569" r:id="rId13"/>
    <p:sldLayoutId id="2147484570" r:id="rId14"/>
    <p:sldLayoutId id="2147484571" r:id="rId15"/>
    <p:sldLayoutId id="2147484572" r:id="rId16"/>
    <p:sldLayoutId id="2147484573" r:id="rId17"/>
    <p:sldLayoutId id="2147484574" r:id="rId18"/>
    <p:sldLayoutId id="2147484575" r:id="rId19"/>
    <p:sldLayoutId id="2147484576" r:id="rId20"/>
    <p:sldLayoutId id="2147484577" r:id="rId21"/>
    <p:sldLayoutId id="2147484578" r:id="rId22"/>
    <p:sldLayoutId id="2147484579" r:id="rId23"/>
    <p:sldLayoutId id="2147484580" r:id="rId24"/>
    <p:sldLayoutId id="2147484581" r:id="rId25"/>
    <p:sldLayoutId id="2147484582" r:id="rId26"/>
    <p:sldLayoutId id="2147484583" r:id="rId27"/>
    <p:sldLayoutId id="2147484584" r:id="rId28"/>
    <p:sldLayoutId id="2147484585" r:id="rId29"/>
    <p:sldLayoutId id="2147484586" r:id="rId30"/>
    <p:sldLayoutId id="2147484587" r:id="rId3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pattFill prst="pct10">
          <a:fgClr>
            <a:schemeClr val="bg1"/>
          </a:fgClr>
          <a:bgClr>
            <a:schemeClr val="accent6">
              <a:lumMod val="20000"/>
              <a:lumOff val="80000"/>
            </a:schemeClr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C0A5C1F4-BE84-4D24-B015-E089F495B4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8" imgW="416" imgH="416" progId="TCLayout.ActiveDocument.1">
                  <p:embed/>
                </p:oleObj>
              </mc:Choice>
              <mc:Fallback>
                <p:oleObj name="Diapositiva de think-cell" r:id="rId38" imgW="416" imgH="416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C0A5C1F4-BE84-4D24-B015-E089F495B4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4" name="Group 23"/>
          <p:cNvGrpSpPr/>
          <p:nvPr userDrawn="1"/>
        </p:nvGrpSpPr>
        <p:grpSpPr>
          <a:xfrm>
            <a:off x="182404" y="6464300"/>
            <a:ext cx="3518293" cy="221722"/>
            <a:chOff x="182404" y="6464300"/>
            <a:chExt cx="3518293" cy="221722"/>
          </a:xfrm>
        </p:grpSpPr>
        <p:cxnSp>
          <p:nvCxnSpPr>
            <p:cNvPr id="28" name="Straight Connector 27"/>
            <p:cNvCxnSpPr/>
            <p:nvPr userDrawn="1"/>
          </p:nvCxnSpPr>
          <p:spPr>
            <a:xfrm>
              <a:off x="2548398" y="6558017"/>
              <a:ext cx="1144933" cy="0"/>
            </a:xfrm>
            <a:prstGeom prst="line">
              <a:avLst/>
            </a:prstGeom>
            <a:ln w="38100">
              <a:solidFill>
                <a:schemeClr val="tx1"/>
              </a:solidFill>
              <a:headEnd type="none" w="med" len="med"/>
              <a:tailEnd type="none" w="med" len="med"/>
            </a:ln>
            <a:effectLst>
              <a:outerShdw blurRad="50800" dist="12700" dir="16200000" rotWithShape="0">
                <a:schemeClr val="tx1">
                  <a:lumMod val="50000"/>
                  <a:alpha val="85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1370281" y="6558017"/>
              <a:ext cx="1144933" cy="0"/>
            </a:xfrm>
            <a:prstGeom prst="line">
              <a:avLst/>
            </a:prstGeom>
            <a:ln w="38100">
              <a:solidFill>
                <a:schemeClr val="tx1"/>
              </a:solidFill>
              <a:headEnd type="none" w="med" len="med"/>
              <a:tailEnd type="none" w="med" len="med"/>
            </a:ln>
            <a:effectLst>
              <a:outerShdw blurRad="50800" dist="12700" dir="16200000" rotWithShape="0">
                <a:schemeClr val="tx1">
                  <a:lumMod val="50000"/>
                  <a:alpha val="85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 flipV="1">
              <a:off x="182404" y="6564191"/>
              <a:ext cx="1149102" cy="14409"/>
            </a:xfrm>
            <a:prstGeom prst="line">
              <a:avLst/>
            </a:prstGeom>
            <a:ln w="38100">
              <a:solidFill>
                <a:schemeClr val="accent6">
                  <a:lumMod val="50000"/>
                </a:schemeClr>
              </a:solidFill>
              <a:headEnd type="none" w="med" len="med"/>
              <a:tailEnd type="none" w="med" len="med"/>
            </a:ln>
            <a:effectLst>
              <a:outerShdw blurRad="50800" dist="12700" dir="16200000" rotWithShape="0">
                <a:schemeClr val="tx1">
                  <a:lumMod val="50000"/>
                  <a:alpha val="85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Rounded Rectangle 31"/>
            <p:cNvSpPr/>
            <p:nvPr userDrawn="1"/>
          </p:nvSpPr>
          <p:spPr>
            <a:xfrm>
              <a:off x="2552617" y="6464300"/>
              <a:ext cx="1148080" cy="221722"/>
            </a:xfrm>
            <a:prstGeom prst="round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" name="Rounded Rectangle 32"/>
            <p:cNvSpPr/>
            <p:nvPr userDrawn="1"/>
          </p:nvSpPr>
          <p:spPr>
            <a:xfrm>
              <a:off x="1366112" y="6464300"/>
              <a:ext cx="1148080" cy="221722"/>
            </a:xfrm>
            <a:prstGeom prst="round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" name="Rounded Rectangle 35"/>
            <p:cNvSpPr/>
            <p:nvPr userDrawn="1"/>
          </p:nvSpPr>
          <p:spPr>
            <a:xfrm>
              <a:off x="182404" y="6464300"/>
              <a:ext cx="1148080" cy="221722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26" name="Title Placeholder 1"/>
          <p:cNvSpPr txBox="1">
            <a:spLocks/>
          </p:cNvSpPr>
          <p:nvPr userDrawn="1"/>
        </p:nvSpPr>
        <p:spPr>
          <a:xfrm>
            <a:off x="311873" y="207732"/>
            <a:ext cx="10069255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3E3838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LLA GREEN SLIDES – FINANCE US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08080" y="155393"/>
            <a:ext cx="678613" cy="823855"/>
          </a:xfrm>
          <a:prstGeom prst="rect">
            <a:avLst/>
          </a:prstGeom>
          <a:effectLst/>
        </p:spPr>
      </p:pic>
      <p:sp>
        <p:nvSpPr>
          <p:cNvPr id="25" name="Rectangle 24"/>
          <p:cNvSpPr/>
          <p:nvPr userDrawn="1"/>
        </p:nvSpPr>
        <p:spPr>
          <a:xfrm>
            <a:off x="0" y="6575301"/>
            <a:ext cx="12191999" cy="2826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0" y="6560530"/>
            <a:ext cx="12192000" cy="0"/>
          </a:xfrm>
          <a:prstGeom prst="line">
            <a:avLst/>
          </a:prstGeom>
          <a:ln w="38100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/>
          <p:cNvSpPr/>
          <p:nvPr userDrawn="1"/>
        </p:nvSpPr>
        <p:spPr>
          <a:xfrm>
            <a:off x="0" y="-1"/>
            <a:ext cx="11201401" cy="10058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99175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89" r:id="rId1"/>
    <p:sldLayoutId id="2147484590" r:id="rId2"/>
    <p:sldLayoutId id="2147484591" r:id="rId3"/>
    <p:sldLayoutId id="2147484592" r:id="rId4"/>
    <p:sldLayoutId id="2147484593" r:id="rId5"/>
    <p:sldLayoutId id="2147484594" r:id="rId6"/>
    <p:sldLayoutId id="2147484595" r:id="rId7"/>
    <p:sldLayoutId id="2147484596" r:id="rId8"/>
    <p:sldLayoutId id="2147484597" r:id="rId9"/>
    <p:sldLayoutId id="2147484598" r:id="rId10"/>
    <p:sldLayoutId id="2147484599" r:id="rId11"/>
    <p:sldLayoutId id="2147484600" r:id="rId12"/>
    <p:sldLayoutId id="2147484601" r:id="rId13"/>
    <p:sldLayoutId id="2147484602" r:id="rId14"/>
    <p:sldLayoutId id="2147484603" r:id="rId15"/>
    <p:sldLayoutId id="2147484604" r:id="rId16"/>
    <p:sldLayoutId id="2147484605" r:id="rId17"/>
    <p:sldLayoutId id="2147484606" r:id="rId18"/>
    <p:sldLayoutId id="2147484607" r:id="rId19"/>
    <p:sldLayoutId id="2147484608" r:id="rId20"/>
    <p:sldLayoutId id="2147484609" r:id="rId21"/>
    <p:sldLayoutId id="2147484610" r:id="rId22"/>
    <p:sldLayoutId id="2147484611" r:id="rId23"/>
    <p:sldLayoutId id="2147484612" r:id="rId24"/>
    <p:sldLayoutId id="2147484613" r:id="rId25"/>
    <p:sldLayoutId id="2147484614" r:id="rId26"/>
    <p:sldLayoutId id="2147484615" r:id="rId27"/>
    <p:sldLayoutId id="2147484616" r:id="rId28"/>
    <p:sldLayoutId id="2147484618" r:id="rId29"/>
    <p:sldLayoutId id="2147484619" r:id="rId30"/>
    <p:sldLayoutId id="2147484620" r:id="rId31"/>
    <p:sldLayoutId id="2147484627" r:id="rId32"/>
    <p:sldLayoutId id="2147484628" r:id="rId33"/>
    <p:sldLayoutId id="2147484633" r:id="rId34"/>
    <p:sldLayoutId id="2147484634" r:id="rId3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15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6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6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6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6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6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6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6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6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6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6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6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61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6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61.xml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6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61.xml"/><Relationship Id="rId6" Type="http://schemas.openxmlformats.org/officeDocument/2006/relationships/image" Target="../media/image59.png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61.xml"/><Relationship Id="rId4" Type="http://schemas.openxmlformats.org/officeDocument/2006/relationships/image" Target="../media/image61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61.xml"/><Relationship Id="rId4" Type="http://schemas.openxmlformats.org/officeDocument/2006/relationships/image" Target="../media/image62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61.xml"/><Relationship Id="rId4" Type="http://schemas.openxmlformats.org/officeDocument/2006/relationships/image" Target="../media/image63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161.xml"/><Relationship Id="rId5" Type="http://schemas.openxmlformats.org/officeDocument/2006/relationships/image" Target="../media/image67.png"/><Relationship Id="rId4" Type="http://schemas.openxmlformats.org/officeDocument/2006/relationships/image" Target="../media/image66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6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61.xml"/><Relationship Id="rId4" Type="http://schemas.openxmlformats.org/officeDocument/2006/relationships/image" Target="../media/image70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6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161.xml"/><Relationship Id="rId4" Type="http://schemas.openxmlformats.org/officeDocument/2006/relationships/image" Target="../media/image73.png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1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1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6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61.xml"/><Relationship Id="rId4" Type="http://schemas.openxmlformats.org/officeDocument/2006/relationships/image" Target="../media/image34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6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6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6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6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7BFBC2-D8BC-8A4E-B07D-C5EC72FEF2B2}" type="datetime2">
              <a:rPr lang="en-GB" smtClean="0"/>
              <a:pPr/>
              <a:t>Sunday, 19 October 2025</a:t>
            </a:fld>
            <a:endParaRPr lang="en-US"/>
          </a:p>
        </p:txBody>
      </p:sp>
      <p:pic>
        <p:nvPicPr>
          <p:cNvPr id="11" name="Picture 10" descr="Logo, company name&#10;&#10;Description automatically generated">
            <a:extLst>
              <a:ext uri="{FF2B5EF4-FFF2-40B4-BE49-F238E27FC236}">
                <a16:creationId xmlns:a16="http://schemas.microsoft.com/office/drawing/2014/main" id="{B50309FA-209A-493C-BBEC-EEC8F0D526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9244" y="5336502"/>
            <a:ext cx="2002756" cy="104644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365F299-A0A7-AC31-1B81-182831664551}"/>
              </a:ext>
            </a:extLst>
          </p:cNvPr>
          <p:cNvSpPr txBox="1"/>
          <p:nvPr/>
        </p:nvSpPr>
        <p:spPr>
          <a:xfrm rot="10800000" flipV="1">
            <a:off x="2035064" y="5059503"/>
            <a:ext cx="8154180" cy="55399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3600" dirty="0">
                <a:solidFill>
                  <a:srgbClr val="3E3838"/>
                </a:solidFill>
              </a:rPr>
              <a:t>AWS Elastic Disaster Recovery (DRS)</a:t>
            </a:r>
            <a:endParaRPr lang="en-US" sz="3600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570249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344427-A89E-EC01-707A-FC76689120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C7E91FB-EC0C-75E5-E462-9D8A82D3FB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599A9AB-92A5-CA13-1302-D0583217443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E20BEAF-5275-1218-60B4-21520A8991AA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Elastic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Disaster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Recovery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(DRS) – Configuración del servicio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560EE6AF-AB60-2CCC-5F1B-E2FA131291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9638" y="1857943"/>
            <a:ext cx="9874370" cy="4207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612020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8CAE20-8E2A-ACFE-1A4F-B23A499C11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3FBDE36-D694-9A70-8252-7C12802BDF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AF3E3B5-F262-D88B-0E39-778B0E57D4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3C60D5-7F58-0ABF-BF68-A55CB3D95A48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Elastic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Disaster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Recovery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(DRS) – Configuración del servicio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25B432B3-F89A-F19C-93F2-AA6EB808BA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9774" y="1808335"/>
            <a:ext cx="9303308" cy="4235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850899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907D49-35D0-312A-07DF-5F9329FF5C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B82341D-1910-FE3C-FEF8-4BB88D04A2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1EEF7DA-C8BD-06A5-69EA-F955128D82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61DF933-4B1B-2BDA-7ED7-0538042413C2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Elastic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Disaster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Recovery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(DRS) – Configuración del servicio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306E250E-FD29-8BE7-DD01-362719B0BB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9735" y="2000647"/>
            <a:ext cx="10391956" cy="35468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09681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AB9357-02BD-4433-AF53-8671DACBF6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298C916-E987-A7FB-0936-D82C9E77B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BC85EF3-A48A-78F4-9033-EBF20E13D2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2E6A640-428C-AB2B-D864-E82C84FD9F30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Elastic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Disaster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Recovery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(DRS) – Configuración del servicio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4BB9865F-F406-2D83-6A07-4F853F3FF0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3804" y="2245180"/>
            <a:ext cx="9563818" cy="2367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96181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FE197A-67F6-DA9A-F731-EB95B82CB0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9A665C5-91E7-6C55-7638-52CC942470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835F684-7E69-98DE-584B-35ED510D473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15F460E-5BB6-314C-038B-563F14D3A46E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Elastic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Disaster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Recovery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(DRS) – Configuración del servicio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657699EF-67D6-2DE5-BAE6-DFE4FBADFC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5956" y="2070340"/>
            <a:ext cx="9959514" cy="3545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971368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599104-8543-824C-14E3-7672E59C05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1191D71-7708-C047-1F06-EC423DCCCF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6EC97EE-70EB-0B0A-55AD-55EB0870FA7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15B855C-6C88-0BFA-5EF6-7E9EE495E1EB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Elastic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Disaster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Recovery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(DRS) – Operación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D1D10BA5-DDCA-A245-F5D6-51997A832B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97751" y="1478742"/>
            <a:ext cx="8715924" cy="483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686099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816DFD-2A35-9D83-CD56-3B31E0CB18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180B58C-9C2D-3E1D-ED65-4A31E219D0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9F2AD24-5B61-C78F-B4D3-75E03FDBAEB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E741A6C-7575-41B3-073E-DA5F6EA364AF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Elastic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Disaster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Recovery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(DRS) – Operación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CB6411A3-708D-A602-FD6A-E96475697E6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90064" y="1475118"/>
            <a:ext cx="8689106" cy="4842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58069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31DCBD-03D9-F6A6-71EA-47517C2604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0521995-600B-B7B9-173E-D65DF346D8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B370244-85BF-F69B-BBC7-44329F04BCB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D320172-CB6A-F234-13DD-63EA540FB7A8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Elastic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Disaster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Recovery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(DRS) –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FailBack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73653FA4-9B5D-3C63-CA3A-CBB3A03489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87614" y="1641935"/>
            <a:ext cx="5371384" cy="4445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51392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F6DA3C-043B-598A-A73A-519AABB55E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A041E4A-6688-9871-D3F3-2B8E020097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9CEE4F5-E093-D9CC-E629-A2DAC488AA5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6334D3E-83DC-5D88-D943-C6ACF91A7837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Elastic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Disaster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Recovery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(DRS) –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Billing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DACE87A1-2F93-0CC9-E4F2-4EF55A1B002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01683" y="2051412"/>
            <a:ext cx="4646762" cy="3824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073917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1BB276-43A0-28B1-AC59-0B749AE205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C87A95A-BEBC-B2E2-465C-5C66F2E6D4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F5C7E8F-03F3-81F1-5075-5F2915804B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9FDEABA-E7E3-A25C-1DDE-5273ACFEE325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Elastic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Disaster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Recovery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(DRS) –  LABORATORIO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B0944DB4-51D4-924A-C36E-4E6115EB119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46892" y="2918564"/>
            <a:ext cx="3795892" cy="1648118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CEAE9E84-94B5-1703-BE6A-6532212F88F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66635" y="2918564"/>
            <a:ext cx="2270267" cy="1648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74918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9373CC-B92F-EB8E-B974-6C9EDE5D5E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F7177F9-A818-CD34-DA0E-A80CA82D66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A09F0AA-3326-33C3-6F4E-B887499C704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7292F3F-2053-25F4-928F-40AD6F931765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3323406F-7D8F-EDB0-8384-80D95C985D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84122" y="2301623"/>
            <a:ext cx="6464632" cy="28068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81121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B9AFC4-3A32-99E0-C577-A20FDE7095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5A233F1-5598-5EFD-FA82-5FC69EF8AC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EFC2DD7-5A0C-3041-5FAD-BB05E262ADC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FC8499C-AED8-F7AF-850C-135F39249BAF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Elastic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Disaster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Recovery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(DRS) –  LABORATORIO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A39C2C9E-334E-7900-2E7A-060F9D69A952}"/>
              </a:ext>
            </a:extLst>
          </p:cNvPr>
          <p:cNvSpPr txBox="1"/>
          <p:nvPr/>
        </p:nvSpPr>
        <p:spPr>
          <a:xfrm>
            <a:off x="3501025" y="3375764"/>
            <a:ext cx="3951961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" sz="2400" dirty="0">
                <a:solidFill>
                  <a:srgbClr val="000000"/>
                </a:solidFill>
              </a:rPr>
              <a:t>DRAWIO</a:t>
            </a:r>
            <a:endParaRPr lang="es-CO" sz="24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308295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B9EBE0-0DB6-D54B-179E-CEA12EED62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99FA73D-CFC3-DA54-5B5A-B74E9795C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1FC04FF-45A6-FAF6-902F-DB5D8381D9C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5DE08B7-B0E1-E744-8578-90C783BF2BB8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(DRS) LABORATORIO – FASES DEL PROCEDIMIENTO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4D535FC8-B74A-08F6-0CBE-E36E7139A8F0}"/>
              </a:ext>
            </a:extLst>
          </p:cNvPr>
          <p:cNvSpPr txBox="1"/>
          <p:nvPr/>
        </p:nvSpPr>
        <p:spPr>
          <a:xfrm>
            <a:off x="1986785" y="5630449"/>
            <a:ext cx="1096027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" sz="2400" b="1" dirty="0">
                <a:solidFill>
                  <a:srgbClr val="000000"/>
                </a:solidFill>
              </a:rPr>
              <a:t>Réplica</a:t>
            </a:r>
            <a:endParaRPr lang="es-CO" sz="2400" b="1" dirty="0">
              <a:solidFill>
                <a:srgbClr val="000000"/>
              </a:solidFill>
            </a:endParaRP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29A3587E-EA9B-03AF-CD0A-A2F52E7B7D3F}"/>
              </a:ext>
            </a:extLst>
          </p:cNvPr>
          <p:cNvSpPr txBox="1"/>
          <p:nvPr/>
        </p:nvSpPr>
        <p:spPr>
          <a:xfrm>
            <a:off x="4324976" y="5624186"/>
            <a:ext cx="1400828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" sz="2400" b="1" dirty="0">
                <a:solidFill>
                  <a:srgbClr val="000000"/>
                </a:solidFill>
              </a:rPr>
              <a:t>Failover</a:t>
            </a:r>
            <a:endParaRPr lang="es-CO" sz="2400" b="1" dirty="0">
              <a:solidFill>
                <a:srgbClr val="000000"/>
              </a:solidFill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7FA66EAA-7FC6-0253-B61E-EB9BC06E4849}"/>
              </a:ext>
            </a:extLst>
          </p:cNvPr>
          <p:cNvSpPr txBox="1"/>
          <p:nvPr/>
        </p:nvSpPr>
        <p:spPr>
          <a:xfrm>
            <a:off x="9174636" y="5624186"/>
            <a:ext cx="1400828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" sz="2400" b="1" dirty="0">
                <a:solidFill>
                  <a:srgbClr val="000000"/>
                </a:solidFill>
              </a:rPr>
              <a:t>Failback</a:t>
            </a:r>
            <a:endParaRPr lang="es-CO" sz="2400" b="1" dirty="0">
              <a:solidFill>
                <a:srgbClr val="000000"/>
              </a:solidFill>
            </a:endParaRP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9E5FF41F-D308-2ABA-E38B-3EBE768FD48F}"/>
              </a:ext>
            </a:extLst>
          </p:cNvPr>
          <p:cNvSpPr txBox="1"/>
          <p:nvPr/>
        </p:nvSpPr>
        <p:spPr>
          <a:xfrm>
            <a:off x="6742500" y="5630449"/>
            <a:ext cx="1096027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" sz="2400" b="1" dirty="0">
                <a:solidFill>
                  <a:srgbClr val="000000"/>
                </a:solidFill>
              </a:rPr>
              <a:t>Réplica</a:t>
            </a:r>
            <a:endParaRPr lang="es-CO" sz="2400" b="1" dirty="0">
              <a:solidFill>
                <a:srgbClr val="000000"/>
              </a:solidFill>
            </a:endParaRP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76819F33-02E5-5B99-0F83-3E7D914B0C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72723" y="4498000"/>
            <a:ext cx="1924149" cy="742988"/>
          </a:xfrm>
          <a:prstGeom prst="rect">
            <a:avLst/>
          </a:prstGeom>
        </p:spPr>
      </p:pic>
      <p:pic>
        <p:nvPicPr>
          <p:cNvPr id="14" name="Imagen 13">
            <a:extLst>
              <a:ext uri="{FF2B5EF4-FFF2-40B4-BE49-F238E27FC236}">
                <a16:creationId xmlns:a16="http://schemas.microsoft.com/office/drawing/2014/main" id="{25410C34-167A-567C-1ADB-F1442427E96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5353" r="4736" b="-12821"/>
          <a:stretch>
            <a:fillRect/>
          </a:stretch>
        </p:blipFill>
        <p:spPr>
          <a:xfrm>
            <a:off x="6306855" y="4498000"/>
            <a:ext cx="1924149" cy="838243"/>
          </a:xfrm>
          <a:prstGeom prst="rect">
            <a:avLst/>
          </a:prstGeom>
        </p:spPr>
      </p:pic>
      <p:sp>
        <p:nvSpPr>
          <p:cNvPr id="15" name="CuadroTexto 14">
            <a:extLst>
              <a:ext uri="{FF2B5EF4-FFF2-40B4-BE49-F238E27FC236}">
                <a16:creationId xmlns:a16="http://schemas.microsoft.com/office/drawing/2014/main" id="{B4DE9745-E0BC-F8AD-527D-E488CE397381}"/>
              </a:ext>
            </a:extLst>
          </p:cNvPr>
          <p:cNvSpPr txBox="1"/>
          <p:nvPr/>
        </p:nvSpPr>
        <p:spPr>
          <a:xfrm>
            <a:off x="5010776" y="3313227"/>
            <a:ext cx="121711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" sz="2400" b="1" dirty="0">
                <a:solidFill>
                  <a:srgbClr val="000000"/>
                </a:solidFill>
              </a:rPr>
              <a:t>Agente</a:t>
            </a:r>
          </a:p>
        </p:txBody>
      </p:sp>
      <p:pic>
        <p:nvPicPr>
          <p:cNvPr id="17" name="Imagen 16">
            <a:extLst>
              <a:ext uri="{FF2B5EF4-FFF2-40B4-BE49-F238E27FC236}">
                <a16:creationId xmlns:a16="http://schemas.microsoft.com/office/drawing/2014/main" id="{D57552AC-1453-F21E-FD87-C020DF4E60A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37123" y="2187041"/>
            <a:ext cx="994160" cy="985323"/>
          </a:xfrm>
          <a:prstGeom prst="rect">
            <a:avLst/>
          </a:prstGeom>
        </p:spPr>
      </p:pic>
      <p:cxnSp>
        <p:nvCxnSpPr>
          <p:cNvPr id="20" name="Conector recto de flecha 19">
            <a:extLst>
              <a:ext uri="{FF2B5EF4-FFF2-40B4-BE49-F238E27FC236}">
                <a16:creationId xmlns:a16="http://schemas.microsoft.com/office/drawing/2014/main" id="{F6C27BAA-F3F4-436F-BF36-6D560FA5C8FD}"/>
              </a:ext>
            </a:extLst>
          </p:cNvPr>
          <p:cNvCxnSpPr>
            <a:cxnSpLocks/>
          </p:cNvCxnSpPr>
          <p:nvPr/>
        </p:nvCxnSpPr>
        <p:spPr>
          <a:xfrm flipH="1">
            <a:off x="3478216" y="3682559"/>
            <a:ext cx="1125099" cy="51313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Imagen 23">
            <a:extLst>
              <a:ext uri="{FF2B5EF4-FFF2-40B4-BE49-F238E27FC236}">
                <a16:creationId xmlns:a16="http://schemas.microsoft.com/office/drawing/2014/main" id="{9E297D59-237A-398D-7927-7DBEA0A413F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12283" y="4498000"/>
            <a:ext cx="1528391" cy="742988"/>
          </a:xfrm>
          <a:prstGeom prst="rect">
            <a:avLst/>
          </a:prstGeom>
        </p:spPr>
      </p:pic>
      <p:pic>
        <p:nvPicPr>
          <p:cNvPr id="26" name="Imagen 25">
            <a:extLst>
              <a:ext uri="{FF2B5EF4-FFF2-40B4-BE49-F238E27FC236}">
                <a16:creationId xmlns:a16="http://schemas.microsoft.com/office/drawing/2014/main" id="{22CF8099-A118-0BC8-E03C-4E8B00975DE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859716" y="4507073"/>
            <a:ext cx="1759561" cy="724841"/>
          </a:xfrm>
          <a:prstGeom prst="rect">
            <a:avLst/>
          </a:prstGeom>
        </p:spPr>
      </p:pic>
      <p:cxnSp>
        <p:nvCxnSpPr>
          <p:cNvPr id="27" name="Conector recto de flecha 26">
            <a:extLst>
              <a:ext uri="{FF2B5EF4-FFF2-40B4-BE49-F238E27FC236}">
                <a16:creationId xmlns:a16="http://schemas.microsoft.com/office/drawing/2014/main" id="{5BB4AD87-AF51-2970-4770-79108F67F790}"/>
              </a:ext>
            </a:extLst>
          </p:cNvPr>
          <p:cNvCxnSpPr>
            <a:cxnSpLocks/>
          </p:cNvCxnSpPr>
          <p:nvPr/>
        </p:nvCxnSpPr>
        <p:spPr>
          <a:xfrm>
            <a:off x="3626232" y="4869494"/>
            <a:ext cx="38836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ector recto de flecha 29">
            <a:extLst>
              <a:ext uri="{FF2B5EF4-FFF2-40B4-BE49-F238E27FC236}">
                <a16:creationId xmlns:a16="http://schemas.microsoft.com/office/drawing/2014/main" id="{E324C556-AD2F-A111-4BCD-29E9C7413B0B}"/>
              </a:ext>
            </a:extLst>
          </p:cNvPr>
          <p:cNvCxnSpPr>
            <a:cxnSpLocks/>
          </p:cNvCxnSpPr>
          <p:nvPr/>
        </p:nvCxnSpPr>
        <p:spPr>
          <a:xfrm>
            <a:off x="5837103" y="4869494"/>
            <a:ext cx="38836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ector recto de flecha 30">
            <a:extLst>
              <a:ext uri="{FF2B5EF4-FFF2-40B4-BE49-F238E27FC236}">
                <a16:creationId xmlns:a16="http://schemas.microsoft.com/office/drawing/2014/main" id="{CDB89CB2-2795-2F5D-1CC7-9745DED8E38F}"/>
              </a:ext>
            </a:extLst>
          </p:cNvPr>
          <p:cNvCxnSpPr>
            <a:cxnSpLocks/>
          </p:cNvCxnSpPr>
          <p:nvPr/>
        </p:nvCxnSpPr>
        <p:spPr>
          <a:xfrm>
            <a:off x="8331871" y="4869493"/>
            <a:ext cx="38836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5670323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E13E3B-600B-D05D-86B5-BE59A11185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F3FE1AC-ED36-D4BF-51ED-B59512FC5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CCEA419-8BF7-8C35-A2AF-A2829AEAF40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2D98C3A-5582-3EED-FEEF-A2DEE748123D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(DRS) LABORATORIO – INSTALACIÓN DEL AGENTE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17" name="Imagen 16">
            <a:extLst>
              <a:ext uri="{FF2B5EF4-FFF2-40B4-BE49-F238E27FC236}">
                <a16:creationId xmlns:a16="http://schemas.microsoft.com/office/drawing/2014/main" id="{6C63A98E-823A-3F11-CD21-A11EC45704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41494" y="2307027"/>
            <a:ext cx="1983716" cy="1912818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FC53B5CF-1EE3-C04C-BB6B-BB2537CCF6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91007" y="2374900"/>
            <a:ext cx="4369925" cy="1844945"/>
          </a:xfrm>
          <a:prstGeom prst="rect">
            <a:avLst/>
          </a:prstGeom>
        </p:spPr>
      </p:pic>
      <p:sp>
        <p:nvSpPr>
          <p:cNvPr id="11" name="CuadroTexto 10">
            <a:extLst>
              <a:ext uri="{FF2B5EF4-FFF2-40B4-BE49-F238E27FC236}">
                <a16:creationId xmlns:a16="http://schemas.microsoft.com/office/drawing/2014/main" id="{3AAE490A-03D2-9920-538D-0CDC22FB4B42}"/>
              </a:ext>
            </a:extLst>
          </p:cNvPr>
          <p:cNvSpPr txBox="1"/>
          <p:nvPr/>
        </p:nvSpPr>
        <p:spPr>
          <a:xfrm>
            <a:off x="2429390" y="5011409"/>
            <a:ext cx="6852645" cy="101566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/>
          <a:p>
            <a:pPr algn="ctr"/>
            <a:r>
              <a:rPr lang="es-ES" sz="2400" b="1" dirty="0">
                <a:solidFill>
                  <a:srgbClr val="000000"/>
                </a:solidFill>
              </a:rPr>
              <a:t>RUN COMMAND:</a:t>
            </a:r>
          </a:p>
          <a:p>
            <a:pPr algn="ctr"/>
            <a:r>
              <a:rPr lang="es-CO" dirty="0"/>
              <a:t>AWSDisasterRecovery</a:t>
            </a:r>
            <a:endParaRPr lang="es-ES" sz="2400" b="1" dirty="0">
              <a:solidFill>
                <a:srgbClr val="000000"/>
              </a:solidFill>
            </a:endParaRPr>
          </a:p>
          <a:p>
            <a:pPr algn="ctr"/>
            <a:r>
              <a:rPr lang="es-CO" sz="2400" dirty="0">
                <a:solidFill>
                  <a:srgbClr val="000000"/>
                </a:solidFill>
              </a:rPr>
              <a:t>AWSDisasterRecovery-InstallDRAgentOnInstance</a:t>
            </a:r>
          </a:p>
        </p:txBody>
      </p:sp>
    </p:spTree>
    <p:extLst>
      <p:ext uri="{BB962C8B-B14F-4D97-AF65-F5344CB8AC3E}">
        <p14:creationId xmlns:p14="http://schemas.microsoft.com/office/powerpoint/2010/main" val="253853728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15325B-45A1-9D95-485E-A728CBF717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ED6E2D4-19CD-C7E9-960D-3E1368FF94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DF17692-2C87-D7B5-0FAF-170536749CB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6C30BF9-3AB5-5578-5CA4-45DB40C8B7EC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(DRS) LABORATORIO – INSTALACIÓN DEL AGENTE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17" name="Imagen 16">
            <a:extLst>
              <a:ext uri="{FF2B5EF4-FFF2-40B4-BE49-F238E27FC236}">
                <a16:creationId xmlns:a16="http://schemas.microsoft.com/office/drawing/2014/main" id="{2840B8E1-FD0D-8B42-01E6-2FDDAC471F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14839" y="1516461"/>
            <a:ext cx="882500" cy="850958"/>
          </a:xfrm>
          <a:prstGeom prst="rect">
            <a:avLst/>
          </a:prstGeom>
        </p:spPr>
      </p:pic>
      <p:pic>
        <p:nvPicPr>
          <p:cNvPr id="3" name="Imagen 2">
            <a:extLst>
              <a:ext uri="{FF2B5EF4-FFF2-40B4-BE49-F238E27FC236}">
                <a16:creationId xmlns:a16="http://schemas.microsoft.com/office/drawing/2014/main" id="{A20DC835-5644-0FED-E6DA-3F9F73C9E14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08098" y="2589756"/>
            <a:ext cx="1109634" cy="1238064"/>
          </a:xfrm>
          <a:prstGeom prst="rect">
            <a:avLst/>
          </a:prstGeom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9BF7B7F9-7024-8B4E-DB3E-BD586743DD48}"/>
              </a:ext>
            </a:extLst>
          </p:cNvPr>
          <p:cNvSpPr txBox="1"/>
          <p:nvPr/>
        </p:nvSpPr>
        <p:spPr>
          <a:xfrm>
            <a:off x="3109367" y="3310839"/>
            <a:ext cx="7446722" cy="258532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" sz="2400" dirty="0">
                <a:solidFill>
                  <a:srgbClr val="000000"/>
                </a:solidFill>
              </a:rPr>
              <a:t>AmazonSSMManagedInstanceCore</a:t>
            </a:r>
          </a:p>
          <a:p>
            <a:endParaRPr lang="es-ES" sz="2400" dirty="0">
              <a:solidFill>
                <a:srgbClr val="000000"/>
              </a:solidFill>
            </a:endParaRPr>
          </a:p>
          <a:p>
            <a:r>
              <a:rPr lang="es-CO" sz="2400" dirty="0">
                <a:solidFill>
                  <a:srgbClr val="000000"/>
                </a:solidFill>
              </a:rPr>
              <a:t>AWSElasticDisasterRecoveryEc2InstancePolicy</a:t>
            </a:r>
          </a:p>
          <a:p>
            <a:endParaRPr lang="es-ES" sz="2400" dirty="0">
              <a:solidFill>
                <a:srgbClr val="000000"/>
              </a:solidFill>
            </a:endParaRPr>
          </a:p>
          <a:p>
            <a:r>
              <a:rPr lang="es-CO" sz="2400" dirty="0">
                <a:solidFill>
                  <a:srgbClr val="000000"/>
                </a:solidFill>
              </a:rPr>
              <a:t>AWSElasticDisasterRecoveryRecoveryInstancePolicy</a:t>
            </a:r>
          </a:p>
          <a:p>
            <a:endParaRPr lang="es-ES" sz="2400" dirty="0">
              <a:solidFill>
                <a:srgbClr val="000000"/>
              </a:solidFill>
            </a:endParaRPr>
          </a:p>
          <a:p>
            <a:endParaRPr lang="es-CO" sz="2400" dirty="0">
              <a:solidFill>
                <a:srgbClr val="000000"/>
              </a:solidFill>
            </a:endParaRP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BE7B408E-A991-BE58-009B-E0F9C96AF07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27930" y="3160527"/>
            <a:ext cx="481139" cy="492074"/>
          </a:xfrm>
          <a:prstGeom prst="rect">
            <a:avLst/>
          </a:prstGeom>
        </p:spPr>
      </p:pic>
      <p:pic>
        <p:nvPicPr>
          <p:cNvPr id="14" name="Imagen 13">
            <a:extLst>
              <a:ext uri="{FF2B5EF4-FFF2-40B4-BE49-F238E27FC236}">
                <a16:creationId xmlns:a16="http://schemas.microsoft.com/office/drawing/2014/main" id="{94DB0D75-2DF4-7C94-B634-7D0A41B0A29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46912" y="3943403"/>
            <a:ext cx="472391" cy="492074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DDB6F848-1995-CA45-CA33-4E7DE547C1B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10800000">
            <a:off x="10468654" y="4698379"/>
            <a:ext cx="472391" cy="492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02132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6A1DCC-A1FB-B68D-BC68-9BAAF5766F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45AEA10-FE92-E712-8F0B-187F10FB8A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0EDDE09-9B15-B349-90A9-9B5726007E6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BA62667-C637-8848-6194-4B0E67655A41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(DRS) LABORATORIO – INSTALACIÓN DEL AGENTE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17" name="Imagen 16">
            <a:extLst>
              <a:ext uri="{FF2B5EF4-FFF2-40B4-BE49-F238E27FC236}">
                <a16:creationId xmlns:a16="http://schemas.microsoft.com/office/drawing/2014/main" id="{7789389E-DB49-879C-7F7E-EC8989FBCB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14839" y="1516461"/>
            <a:ext cx="882500" cy="850958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7034E9F9-AE37-1634-7C2C-04FA0DE22BC7}"/>
              </a:ext>
            </a:extLst>
          </p:cNvPr>
          <p:cNvSpPr txBox="1"/>
          <p:nvPr/>
        </p:nvSpPr>
        <p:spPr>
          <a:xfrm>
            <a:off x="2303745" y="2299771"/>
            <a:ext cx="7446722" cy="369331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" sz="2400" b="1" dirty="0">
                <a:solidFill>
                  <a:srgbClr val="000000"/>
                </a:solidFill>
              </a:rPr>
              <a:t>MONITOREO</a:t>
            </a:r>
          </a:p>
          <a:p>
            <a:endParaRPr lang="es-ES" sz="2400" b="1" dirty="0">
              <a:solidFill>
                <a:srgbClr val="000000"/>
              </a:solidFill>
            </a:endParaRPr>
          </a:p>
          <a:p>
            <a:endParaRPr lang="es-ES" sz="2400" dirty="0">
              <a:solidFill>
                <a:srgbClr val="00000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s-ES" sz="2400" dirty="0">
                <a:solidFill>
                  <a:srgbClr val="000000"/>
                </a:solidFill>
              </a:rPr>
              <a:t>En SSM, el </a:t>
            </a:r>
            <a:r>
              <a:rPr lang="es-ES" sz="2400" b="1" dirty="0">
                <a:solidFill>
                  <a:srgbClr val="000000"/>
                </a:solidFill>
              </a:rPr>
              <a:t>Run Command</a:t>
            </a:r>
            <a:r>
              <a:rPr lang="es-ES" sz="2400" dirty="0">
                <a:solidFill>
                  <a:srgbClr val="000000"/>
                </a:solidFill>
              </a:rPr>
              <a:t> debe completarse</a:t>
            </a:r>
          </a:p>
          <a:p>
            <a:endParaRPr lang="es-ES" sz="2400" dirty="0">
              <a:solidFill>
                <a:srgbClr val="00000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s-ES" sz="2400" dirty="0">
                <a:solidFill>
                  <a:srgbClr val="000000"/>
                </a:solidFill>
              </a:rPr>
              <a:t>En la instancia Source:</a:t>
            </a:r>
          </a:p>
          <a:p>
            <a:r>
              <a:rPr lang="es-CO" sz="2400" dirty="0">
                <a:solidFill>
                  <a:srgbClr val="000000"/>
                </a:solidFill>
              </a:rPr>
              <a:t>	systemctl status aws-replication-agent</a:t>
            </a:r>
          </a:p>
          <a:p>
            <a:endParaRPr lang="es-CO" sz="2400" dirty="0">
              <a:solidFill>
                <a:srgbClr val="000000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s-ES" sz="2400" dirty="0">
              <a:solidFill>
                <a:srgbClr val="000000"/>
              </a:solidFill>
            </a:endParaRPr>
          </a:p>
          <a:p>
            <a:endParaRPr lang="es-CO" sz="24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244075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939A0B-A0B2-C497-27F9-55A307E1A7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EE24BAC-C512-B354-6C27-1580177903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4FA3429-2715-7EF1-CF50-89BE88BE73E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A2E6A45-A57E-324A-1178-196A5981509C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(DRS) LABORATORIO – RÉPLICA INICIAL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B96E3635-D8AE-F59D-1890-CFA6EC8089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15549" y="1516460"/>
            <a:ext cx="2076110" cy="850959"/>
          </a:xfrm>
          <a:prstGeom prst="rect">
            <a:avLst/>
          </a:prstGeom>
        </p:spPr>
      </p:pic>
      <p:sp>
        <p:nvSpPr>
          <p:cNvPr id="3" name="CuadroTexto 2">
            <a:extLst>
              <a:ext uri="{FF2B5EF4-FFF2-40B4-BE49-F238E27FC236}">
                <a16:creationId xmlns:a16="http://schemas.microsoft.com/office/drawing/2014/main" id="{15C5FFD0-9DFC-660D-73D3-D565F62750FF}"/>
              </a:ext>
            </a:extLst>
          </p:cNvPr>
          <p:cNvSpPr txBox="1"/>
          <p:nvPr/>
        </p:nvSpPr>
        <p:spPr>
          <a:xfrm>
            <a:off x="714087" y="1544390"/>
            <a:ext cx="7446722" cy="1107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" sz="2400" b="1" dirty="0">
                <a:solidFill>
                  <a:srgbClr val="000000"/>
                </a:solidFill>
              </a:rPr>
              <a:t>MONITOREO</a:t>
            </a:r>
          </a:p>
          <a:p>
            <a:endParaRPr lang="es-ES" sz="2400" dirty="0">
              <a:solidFill>
                <a:srgbClr val="00000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s-ES" sz="2400" dirty="0">
                <a:solidFill>
                  <a:srgbClr val="000000"/>
                </a:solidFill>
              </a:rPr>
              <a:t>En la Consola de AWS &gt; DRS &gt; </a:t>
            </a:r>
            <a:r>
              <a:rPr lang="es-ES" sz="2400" b="1" dirty="0">
                <a:solidFill>
                  <a:srgbClr val="000000"/>
                </a:solidFill>
              </a:rPr>
              <a:t>Source servers</a:t>
            </a:r>
            <a:endParaRPr lang="es-CO" sz="2400" b="1" dirty="0">
              <a:solidFill>
                <a:srgbClr val="000000"/>
              </a:solidFill>
            </a:endParaRP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399EB66C-D863-AAF3-4369-6788EF84BF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21676" y="2730674"/>
            <a:ext cx="6937792" cy="1158658"/>
          </a:xfrm>
          <a:prstGeom prst="rect">
            <a:avLst/>
          </a:prstGeom>
        </p:spPr>
      </p:pic>
      <p:pic>
        <p:nvPicPr>
          <p:cNvPr id="13" name="Imagen 12">
            <a:extLst>
              <a:ext uri="{FF2B5EF4-FFF2-40B4-BE49-F238E27FC236}">
                <a16:creationId xmlns:a16="http://schemas.microsoft.com/office/drawing/2014/main" id="{B11CB3EC-5E32-9CD8-63E0-F231652ABB7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21675" y="4011460"/>
            <a:ext cx="3063675" cy="925536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149848A2-C107-9FB3-EC4B-B7801FD4C07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15207" y="3981506"/>
            <a:ext cx="2960898" cy="955490"/>
          </a:xfrm>
          <a:prstGeom prst="rect">
            <a:avLst/>
          </a:prstGeom>
        </p:spPr>
      </p:pic>
      <p:pic>
        <p:nvPicPr>
          <p:cNvPr id="18" name="Imagen 17">
            <a:extLst>
              <a:ext uri="{FF2B5EF4-FFF2-40B4-BE49-F238E27FC236}">
                <a16:creationId xmlns:a16="http://schemas.microsoft.com/office/drawing/2014/main" id="{E60B983A-77E2-DF77-9960-F04B4D9F9E4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21675" y="5059124"/>
            <a:ext cx="7483840" cy="122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586991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3FE391-8238-CD49-EC04-D585B51474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8880425-436C-F8CC-92BC-186AA62464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1B3F582-1D7A-889E-A1B8-F30774B486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34E8BF8-D6AA-8A7C-267F-E423C589DC28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(DRS) LABORATORIO – RÉPLICA INICIAL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07D5AD5E-E3E8-2564-5F58-6FB2CD6F8A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15549" y="1516460"/>
            <a:ext cx="2076110" cy="850959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90A3C7B2-CAF0-928D-7CE0-086D9E23540A}"/>
              </a:ext>
            </a:extLst>
          </p:cNvPr>
          <p:cNvSpPr txBox="1"/>
          <p:nvPr/>
        </p:nvSpPr>
        <p:spPr>
          <a:xfrm>
            <a:off x="714087" y="1544390"/>
            <a:ext cx="8461228" cy="480131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" sz="2400" b="1" dirty="0">
                <a:solidFill>
                  <a:srgbClr val="000000"/>
                </a:solidFill>
              </a:rPr>
              <a:t>MONITOREO</a:t>
            </a:r>
          </a:p>
          <a:p>
            <a:endParaRPr lang="es-ES" sz="2400" dirty="0">
              <a:solidFill>
                <a:srgbClr val="000000"/>
              </a:solidFill>
            </a:endParaRPr>
          </a:p>
          <a:p>
            <a:endParaRPr lang="es-ES" sz="2400" dirty="0">
              <a:solidFill>
                <a:srgbClr val="00000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s-ES" sz="2400" dirty="0">
                <a:solidFill>
                  <a:srgbClr val="000000"/>
                </a:solidFill>
              </a:rPr>
              <a:t>En AWS CLI – </a:t>
            </a:r>
            <a:r>
              <a:rPr lang="es-ES" sz="2400" b="1" dirty="0">
                <a:solidFill>
                  <a:srgbClr val="000000"/>
                </a:solidFill>
              </a:rPr>
              <a:t>Initial Sync Tasks</a:t>
            </a:r>
          </a:p>
          <a:p>
            <a:r>
              <a:rPr lang="es-ES" sz="2400" b="1" dirty="0">
                <a:solidFill>
                  <a:srgbClr val="000000"/>
                </a:solidFill>
              </a:rPr>
              <a:t>	</a:t>
            </a:r>
            <a:r>
              <a:rPr lang="en-US" sz="2400" dirty="0">
                <a:solidFill>
                  <a:srgbClr val="000000"/>
                </a:solidFill>
              </a:rPr>
              <a:t>aws drs describe-source-servers --region us-east-2</a:t>
            </a:r>
          </a:p>
          <a:p>
            <a:r>
              <a:rPr lang="en-US" sz="2400" dirty="0">
                <a:solidFill>
                  <a:srgbClr val="000000"/>
                </a:solidFill>
              </a:rPr>
              <a:t>	</a:t>
            </a:r>
          </a:p>
          <a:p>
            <a:endParaRPr lang="en-US" sz="2400" dirty="0">
              <a:solidFill>
                <a:srgbClr val="00000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rgbClr val="000000"/>
                </a:solidFill>
              </a:rPr>
              <a:t>En AWS CLI – </a:t>
            </a:r>
            <a:r>
              <a:rPr lang="en-US" sz="2400" b="1" dirty="0">
                <a:solidFill>
                  <a:srgbClr val="000000"/>
                </a:solidFill>
              </a:rPr>
              <a:t>PIT Policy</a:t>
            </a:r>
            <a:r>
              <a:rPr lang="en-US" sz="2400" dirty="0">
                <a:solidFill>
                  <a:srgbClr val="000000"/>
                </a:solidFill>
              </a:rPr>
              <a:t> (Point in Time - ebsSnapshots)</a:t>
            </a:r>
          </a:p>
          <a:p>
            <a:r>
              <a:rPr lang="en-US" sz="2400" dirty="0">
                <a:solidFill>
                  <a:srgbClr val="000000"/>
                </a:solidFill>
              </a:rPr>
              <a:t>	aws drs describe-recovery-snapshots --source-server-id s-</a:t>
            </a:r>
            <a:r>
              <a:rPr lang="en-US" sz="2400" dirty="0" err="1">
                <a:solidFill>
                  <a:srgbClr val="000000"/>
                </a:solidFill>
              </a:rPr>
              <a:t>xxxxxxxxxxxxxxxxx</a:t>
            </a:r>
            <a:r>
              <a:rPr lang="en-US" sz="2400" dirty="0">
                <a:solidFill>
                  <a:srgbClr val="000000"/>
                </a:solidFill>
              </a:rPr>
              <a:t> --region us-east-2</a:t>
            </a:r>
          </a:p>
          <a:p>
            <a:endParaRPr lang="en-US" sz="2400" dirty="0">
              <a:solidFill>
                <a:srgbClr val="000000"/>
              </a:solidFill>
            </a:endParaRPr>
          </a:p>
          <a:p>
            <a:r>
              <a:rPr lang="en-US" sz="2400" dirty="0">
                <a:solidFill>
                  <a:srgbClr val="000000"/>
                </a:solidFill>
              </a:rPr>
              <a:t>	</a:t>
            </a:r>
          </a:p>
          <a:p>
            <a:r>
              <a:rPr lang="en-US" sz="2400" dirty="0">
                <a:solidFill>
                  <a:srgbClr val="000000"/>
                </a:solidFill>
              </a:rPr>
              <a:t>	</a:t>
            </a:r>
            <a:r>
              <a:rPr lang="es-ES" sz="2400" dirty="0">
                <a:solidFill>
                  <a:srgbClr val="000000"/>
                </a:solidFill>
              </a:rPr>
              <a:t> </a:t>
            </a:r>
            <a:endParaRPr lang="es-CO" sz="2400" dirty="0">
              <a:solidFill>
                <a:srgbClr val="000000"/>
              </a:solidFill>
            </a:endParaRP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28B500BE-2857-B522-A605-65FD8DBFFA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06431" y="2838423"/>
            <a:ext cx="541594" cy="507304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0FD2ACBB-19EF-CB7D-030A-2124610DFA7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98129" y="4304545"/>
            <a:ext cx="864226" cy="4866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93695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DAF37B-CD66-4F1B-FBB8-4C3E9D3F53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5A42E91-E3AE-5E6B-73CC-7ADF4F7156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FC7F82B-3935-830E-18EE-9804787D597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9809110-9886-5745-0367-DF52834A3D0D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(DRS) LABORATORIO – RÉPLICA INICIAL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6278C959-CBBA-DE1D-155B-AE7A53A42B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15549" y="1516460"/>
            <a:ext cx="2076110" cy="850959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B63576BF-7FE7-E5BE-5421-497278A4F93C}"/>
              </a:ext>
            </a:extLst>
          </p:cNvPr>
          <p:cNvSpPr txBox="1"/>
          <p:nvPr/>
        </p:nvSpPr>
        <p:spPr>
          <a:xfrm>
            <a:off x="714087" y="1544390"/>
            <a:ext cx="8461228" cy="221599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" sz="2400" b="1" dirty="0">
                <a:solidFill>
                  <a:srgbClr val="000000"/>
                </a:solidFill>
              </a:rPr>
              <a:t>MONITOREO</a:t>
            </a:r>
          </a:p>
          <a:p>
            <a:endParaRPr lang="es-ES" sz="2400" dirty="0">
              <a:solidFill>
                <a:srgbClr val="000000"/>
              </a:solidFill>
            </a:endParaRPr>
          </a:p>
          <a:p>
            <a:r>
              <a:rPr lang="en-US" sz="2400" b="1" dirty="0">
                <a:solidFill>
                  <a:srgbClr val="000000"/>
                </a:solidFill>
              </a:rPr>
              <a:t>PIT Policy</a:t>
            </a:r>
            <a:r>
              <a:rPr lang="en-US" sz="2400" dirty="0">
                <a:solidFill>
                  <a:srgbClr val="000000"/>
                </a:solidFill>
              </a:rPr>
              <a:t> (Point in Time)</a:t>
            </a:r>
          </a:p>
          <a:p>
            <a:endParaRPr lang="en-US" sz="2400" dirty="0">
              <a:solidFill>
                <a:srgbClr val="000000"/>
              </a:solidFill>
            </a:endParaRPr>
          </a:p>
          <a:p>
            <a:r>
              <a:rPr lang="en-US" sz="2400" dirty="0">
                <a:solidFill>
                  <a:srgbClr val="000000"/>
                </a:solidFill>
              </a:rPr>
              <a:t>	</a:t>
            </a:r>
          </a:p>
          <a:p>
            <a:r>
              <a:rPr lang="en-US" sz="2400" dirty="0">
                <a:solidFill>
                  <a:srgbClr val="000000"/>
                </a:solidFill>
              </a:rPr>
              <a:t>	</a:t>
            </a:r>
            <a:r>
              <a:rPr lang="es-ES" sz="2400" dirty="0">
                <a:solidFill>
                  <a:srgbClr val="000000"/>
                </a:solidFill>
              </a:rPr>
              <a:t> </a:t>
            </a:r>
            <a:endParaRPr lang="es-CO" sz="2400" dirty="0">
              <a:solidFill>
                <a:srgbClr val="000000"/>
              </a:solidFill>
            </a:endParaRP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4C4E35A7-E362-535C-913B-E96AAF6091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27433" y="2512279"/>
            <a:ext cx="864226" cy="486662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08BC4A72-CEAF-E3F3-AB1B-4595C20FDC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54313" y="2843408"/>
            <a:ext cx="1946872" cy="3338186"/>
          </a:xfrm>
          <a:prstGeom prst="rect">
            <a:avLst/>
          </a:prstGeom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18998CA2-BABD-4842-138B-467A88F8FE11}"/>
              </a:ext>
            </a:extLst>
          </p:cNvPr>
          <p:cNvSpPr txBox="1"/>
          <p:nvPr/>
        </p:nvSpPr>
        <p:spPr>
          <a:xfrm>
            <a:off x="4658518" y="3270248"/>
            <a:ext cx="4698402" cy="30777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/>
          <a:p>
            <a:r>
              <a:rPr lang="es-ES" sz="2000" dirty="0">
                <a:solidFill>
                  <a:srgbClr val="000000"/>
                </a:solidFill>
              </a:rPr>
              <a:t>6 snapshots en 1 hora – cada 10 minutos</a:t>
            </a:r>
            <a:endParaRPr lang="es-CO" sz="2000" dirty="0">
              <a:solidFill>
                <a:srgbClr val="000000"/>
              </a:solidFill>
            </a:endParaRP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0BFA9D2C-839E-687C-0084-056908356674}"/>
              </a:ext>
            </a:extLst>
          </p:cNvPr>
          <p:cNvSpPr txBox="1"/>
          <p:nvPr/>
        </p:nvSpPr>
        <p:spPr>
          <a:xfrm>
            <a:off x="5200333" y="4326965"/>
            <a:ext cx="4156587" cy="30777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/>
          <a:p>
            <a:r>
              <a:rPr lang="es-ES" sz="2000" dirty="0">
                <a:solidFill>
                  <a:srgbClr val="000000"/>
                </a:solidFill>
              </a:rPr>
              <a:t>24 snapshots en 1 día – cada 1 hora</a:t>
            </a:r>
            <a:endParaRPr lang="es-CO" sz="2000" dirty="0">
              <a:solidFill>
                <a:srgbClr val="000000"/>
              </a:solidFill>
            </a:endParaRP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FF8978ED-FD46-0CED-D469-B50348897B11}"/>
              </a:ext>
            </a:extLst>
          </p:cNvPr>
          <p:cNvSpPr txBox="1"/>
          <p:nvPr/>
        </p:nvSpPr>
        <p:spPr>
          <a:xfrm>
            <a:off x="5196158" y="5381237"/>
            <a:ext cx="3985065" cy="30777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/>
          <a:p>
            <a:r>
              <a:rPr lang="es-ES" sz="2000" dirty="0">
                <a:solidFill>
                  <a:srgbClr val="000000"/>
                </a:solidFill>
              </a:rPr>
              <a:t>3 snapshots en 3 días – cada 1 día</a:t>
            </a:r>
            <a:endParaRPr lang="es-CO" sz="2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763744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574770-18B6-7B55-7E1D-0C031442DB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6CAB300-0942-8A99-ACB2-5CBEBDB354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DFAABF4-3F91-551A-55D0-96F5BF474F8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A650B48-EAF5-C06E-3C59-0F7E56B0383F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(DRS) LABORATORIO – RÉPLICA INICIAL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9382DF28-D17A-4027-33FA-97E20D6F7A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15549" y="1516460"/>
            <a:ext cx="2076110" cy="850959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57A2840B-D379-3D2F-F9E7-D8E100477E3A}"/>
              </a:ext>
            </a:extLst>
          </p:cNvPr>
          <p:cNvSpPr txBox="1"/>
          <p:nvPr/>
        </p:nvSpPr>
        <p:spPr>
          <a:xfrm>
            <a:off x="714087" y="1544390"/>
            <a:ext cx="8461228" cy="221599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" sz="2400" b="1" dirty="0">
                <a:solidFill>
                  <a:srgbClr val="000000"/>
                </a:solidFill>
              </a:rPr>
              <a:t>MONITOREO</a:t>
            </a:r>
          </a:p>
          <a:p>
            <a:endParaRPr lang="es-ES" sz="2400" dirty="0">
              <a:solidFill>
                <a:srgbClr val="000000"/>
              </a:solidFill>
            </a:endParaRPr>
          </a:p>
          <a:p>
            <a:r>
              <a:rPr lang="en-US" sz="2400" b="1" dirty="0">
                <a:solidFill>
                  <a:srgbClr val="000000"/>
                </a:solidFill>
              </a:rPr>
              <a:t>PIT Policy</a:t>
            </a:r>
            <a:r>
              <a:rPr lang="en-US" sz="2400" dirty="0">
                <a:solidFill>
                  <a:srgbClr val="000000"/>
                </a:solidFill>
              </a:rPr>
              <a:t> (Point in Time)</a:t>
            </a:r>
          </a:p>
          <a:p>
            <a:endParaRPr lang="en-US" sz="2400" dirty="0">
              <a:solidFill>
                <a:srgbClr val="000000"/>
              </a:solidFill>
            </a:endParaRPr>
          </a:p>
          <a:p>
            <a:r>
              <a:rPr lang="en-US" sz="2400" dirty="0">
                <a:solidFill>
                  <a:srgbClr val="000000"/>
                </a:solidFill>
              </a:rPr>
              <a:t>	</a:t>
            </a:r>
          </a:p>
          <a:p>
            <a:r>
              <a:rPr lang="en-US" sz="2400" dirty="0">
                <a:solidFill>
                  <a:srgbClr val="000000"/>
                </a:solidFill>
              </a:rPr>
              <a:t>	</a:t>
            </a:r>
            <a:r>
              <a:rPr lang="es-ES" sz="2400" dirty="0">
                <a:solidFill>
                  <a:srgbClr val="000000"/>
                </a:solidFill>
              </a:rPr>
              <a:t> </a:t>
            </a:r>
            <a:endParaRPr lang="es-CO" sz="2400" dirty="0">
              <a:solidFill>
                <a:srgbClr val="000000"/>
              </a:solidFill>
            </a:endParaRP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CDD1AC76-465E-491A-DB12-079EE0BCF8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27433" y="2512279"/>
            <a:ext cx="864226" cy="486662"/>
          </a:xfrm>
          <a:prstGeom prst="rect">
            <a:avLst/>
          </a:prstGeom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715A67BE-2AAC-DB72-FE08-9480F494E043}"/>
              </a:ext>
            </a:extLst>
          </p:cNvPr>
          <p:cNvSpPr txBox="1"/>
          <p:nvPr/>
        </p:nvSpPr>
        <p:spPr>
          <a:xfrm>
            <a:off x="714087" y="2652385"/>
            <a:ext cx="4698402" cy="30777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/>
          <a:p>
            <a:r>
              <a:rPr lang="es-ES" sz="2000" dirty="0">
                <a:solidFill>
                  <a:srgbClr val="000000"/>
                </a:solidFill>
              </a:rPr>
              <a:t>6 snapshots en 1 hora – cada 10 minutos</a:t>
            </a:r>
            <a:endParaRPr lang="es-CO" sz="2000" dirty="0">
              <a:solidFill>
                <a:srgbClr val="000000"/>
              </a:solidFill>
            </a:endParaRP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47E54854-9E81-37B7-6EF2-4C326079C6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41200" y="3093929"/>
            <a:ext cx="3553036" cy="3216726"/>
          </a:xfrm>
          <a:prstGeom prst="rect">
            <a:avLst/>
          </a:prstGeom>
        </p:spPr>
      </p:pic>
      <p:cxnSp>
        <p:nvCxnSpPr>
          <p:cNvPr id="14" name="Conector recto de flecha 13">
            <a:extLst>
              <a:ext uri="{FF2B5EF4-FFF2-40B4-BE49-F238E27FC236}">
                <a16:creationId xmlns:a16="http://schemas.microsoft.com/office/drawing/2014/main" id="{359CCCDA-989C-1D35-8EB4-B96FC3598788}"/>
              </a:ext>
            </a:extLst>
          </p:cNvPr>
          <p:cNvCxnSpPr>
            <a:cxnSpLocks/>
          </p:cNvCxnSpPr>
          <p:nvPr/>
        </p:nvCxnSpPr>
        <p:spPr>
          <a:xfrm flipV="1">
            <a:off x="7050430" y="4628367"/>
            <a:ext cx="0" cy="1503124"/>
          </a:xfrm>
          <a:prstGeom prst="straightConnector1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uadroTexto 15">
            <a:extLst>
              <a:ext uri="{FF2B5EF4-FFF2-40B4-BE49-F238E27FC236}">
                <a16:creationId xmlns:a16="http://schemas.microsoft.com/office/drawing/2014/main" id="{FCAF5D17-8781-65D0-D4D9-8DE8FD2501E3}"/>
              </a:ext>
            </a:extLst>
          </p:cNvPr>
          <p:cNvSpPr txBox="1"/>
          <p:nvPr/>
        </p:nvSpPr>
        <p:spPr>
          <a:xfrm>
            <a:off x="6798663" y="4284484"/>
            <a:ext cx="666849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" b="1" dirty="0">
                <a:solidFill>
                  <a:srgbClr val="FD1A16"/>
                </a:solidFill>
              </a:rPr>
              <a:t>RPO</a:t>
            </a:r>
            <a:endParaRPr lang="es-CO" sz="2400" b="1" dirty="0">
              <a:solidFill>
                <a:srgbClr val="FD1A1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778435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67F6C3-6144-BE70-BA8A-8BD849D3AA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93A3F07-C67C-E961-6A3D-59EFE21B1F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9D7A8C4-6FB3-27EB-5B7F-C4CAB2900E1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pic>
        <p:nvPicPr>
          <p:cNvPr id="3" name="Imagen 2" descr="Una captura de pantalla de una computadora&#10;&#10;El contenido generado por IA puede ser incorrecto.">
            <a:extLst>
              <a:ext uri="{FF2B5EF4-FFF2-40B4-BE49-F238E27FC236}">
                <a16:creationId xmlns:a16="http://schemas.microsoft.com/office/drawing/2014/main" id="{636C6851-2922-716A-A687-51682CE114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5929" y="-115916"/>
            <a:ext cx="12283858" cy="7089832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E81FE0EA-E0A2-18CF-6AF8-856D4F2A1C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5945" y="2435550"/>
            <a:ext cx="3402761" cy="3627048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E81C0D71-B7F1-B22C-1F86-C270B9CCE02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27841" y="2304790"/>
            <a:ext cx="3205263" cy="4221270"/>
          </a:xfrm>
          <a:prstGeom prst="rect">
            <a:avLst/>
          </a:prstGeom>
        </p:spPr>
      </p:pic>
      <p:pic>
        <p:nvPicPr>
          <p:cNvPr id="18" name="Imagen 17">
            <a:extLst>
              <a:ext uri="{FF2B5EF4-FFF2-40B4-BE49-F238E27FC236}">
                <a16:creationId xmlns:a16="http://schemas.microsoft.com/office/drawing/2014/main" id="{8844AE35-B361-B8A2-B1D6-58AD90A0B82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95332" y="2942465"/>
            <a:ext cx="4873496" cy="2945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26733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6D7F0D-8B79-8DA6-1CB6-5E200314D7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3D1A348-8B91-FEF1-5CD7-CCA39A7CD8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12E37A6-E8F1-1B0D-7ABF-673A76E7D4E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F8A1728-E059-666D-DCA5-6A2BD61D717B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Elastic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Disaster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Recovery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(DRS) – Propósito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6C12BA09-A935-AF1A-8D95-95175596E1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13825" y="1876355"/>
            <a:ext cx="4491488" cy="2967268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66DCE60A-9694-E014-3757-9996F4C0F06A}"/>
              </a:ext>
            </a:extLst>
          </p:cNvPr>
          <p:cNvSpPr txBox="1"/>
          <p:nvPr/>
        </p:nvSpPr>
        <p:spPr>
          <a:xfrm>
            <a:off x="1440609" y="5227606"/>
            <a:ext cx="9480431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s-ES" sz="2400" dirty="0">
                <a:solidFill>
                  <a:srgbClr val="000000"/>
                </a:solidFill>
              </a:rPr>
              <a:t>Asegurar la continuidad del negocio con una solución de Disaster Recovery basada en nube y altamente escalable</a:t>
            </a:r>
            <a:endParaRPr lang="es-CO" sz="24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462374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C4CBBE-9146-FFE8-7478-903A1BF972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D79F5AF-4426-AFE3-B01F-73E5EA0669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5A22567-0B50-F6B5-96FF-5E84CBF9139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4F3D3F7-6FC4-A9EA-EBA2-E3660D00B5B7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(DRS) LABORATORIO – FAILOVER TEST (DRILL)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69230FBB-8B4D-8167-73A9-04CA43988714}"/>
              </a:ext>
            </a:extLst>
          </p:cNvPr>
          <p:cNvSpPr txBox="1"/>
          <p:nvPr/>
        </p:nvSpPr>
        <p:spPr>
          <a:xfrm>
            <a:off x="714087" y="1617156"/>
            <a:ext cx="7446722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" sz="2400" b="1" dirty="0">
                <a:solidFill>
                  <a:srgbClr val="000000"/>
                </a:solidFill>
              </a:rPr>
              <a:t>EC2 Launch Template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1EB6A262-1B56-9563-C026-F624B09A14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16304" y="1540824"/>
            <a:ext cx="1981035" cy="846375"/>
          </a:xfrm>
          <a:prstGeom prst="rect">
            <a:avLst/>
          </a:prstGeom>
        </p:spPr>
      </p:pic>
      <p:pic>
        <p:nvPicPr>
          <p:cNvPr id="17" name="Imagen 16">
            <a:extLst>
              <a:ext uri="{FF2B5EF4-FFF2-40B4-BE49-F238E27FC236}">
                <a16:creationId xmlns:a16="http://schemas.microsoft.com/office/drawing/2014/main" id="{306ED9A4-83D9-9202-C1D4-FDAFE2BB29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61175" y="2946895"/>
            <a:ext cx="1043565" cy="1123075"/>
          </a:xfrm>
          <a:prstGeom prst="rect">
            <a:avLst/>
          </a:prstGeom>
        </p:spPr>
      </p:pic>
      <p:pic>
        <p:nvPicPr>
          <p:cNvPr id="19" name="Imagen 18">
            <a:extLst>
              <a:ext uri="{FF2B5EF4-FFF2-40B4-BE49-F238E27FC236}">
                <a16:creationId xmlns:a16="http://schemas.microsoft.com/office/drawing/2014/main" id="{913AEBCA-CCD7-0159-F4D3-A561EFB46C9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2494" y="2454030"/>
            <a:ext cx="8385970" cy="3503168"/>
          </a:xfrm>
          <a:prstGeom prst="rect">
            <a:avLst/>
          </a:prstGeom>
        </p:spPr>
      </p:pic>
      <p:sp>
        <p:nvSpPr>
          <p:cNvPr id="20" name="CuadroTexto 19">
            <a:extLst>
              <a:ext uri="{FF2B5EF4-FFF2-40B4-BE49-F238E27FC236}">
                <a16:creationId xmlns:a16="http://schemas.microsoft.com/office/drawing/2014/main" id="{21711D69-C1BF-34D9-DCD9-AC8842D890D5}"/>
              </a:ext>
            </a:extLst>
          </p:cNvPr>
          <p:cNvSpPr txBox="1"/>
          <p:nvPr/>
        </p:nvSpPr>
        <p:spPr>
          <a:xfrm>
            <a:off x="9459734" y="4152379"/>
            <a:ext cx="2684250" cy="129266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s-CO" sz="1400" dirty="0"/>
              <a:t>ami-0ca4d5db4872d0c28 (Ohio)</a:t>
            </a:r>
          </a:p>
          <a:p>
            <a:pPr algn="ctr"/>
            <a:r>
              <a:rPr lang="es-CO" sz="1400" dirty="0"/>
              <a:t>t2.small</a:t>
            </a:r>
          </a:p>
          <a:p>
            <a:pPr algn="ctr"/>
            <a:r>
              <a:rPr lang="es-CO" sz="1400" dirty="0"/>
              <a:t>iam_instance_profile</a:t>
            </a:r>
          </a:p>
          <a:p>
            <a:pPr algn="ctr"/>
            <a:r>
              <a:rPr lang="es-CO" sz="1400" dirty="0"/>
              <a:t>subnet-public2-us-east-2b</a:t>
            </a:r>
          </a:p>
          <a:p>
            <a:pPr algn="ctr"/>
            <a:r>
              <a:rPr lang="es-CO" sz="1400" dirty="0"/>
              <a:t>webserver-security-</a:t>
            </a:r>
            <a:r>
              <a:rPr lang="es-CO" sz="1400" dirty="0" err="1"/>
              <a:t>group</a:t>
            </a:r>
            <a:endParaRPr lang="es-CO" sz="1400" dirty="0"/>
          </a:p>
          <a:p>
            <a:pPr algn="ctr"/>
            <a:r>
              <a:rPr lang="es-CO" sz="1400" dirty="0" err="1"/>
              <a:t>auto-assign-public-ip</a:t>
            </a:r>
            <a:endParaRPr lang="es-CO" sz="2400" dirty="0"/>
          </a:p>
        </p:txBody>
      </p:sp>
    </p:spTree>
    <p:extLst>
      <p:ext uri="{BB962C8B-B14F-4D97-AF65-F5344CB8AC3E}">
        <p14:creationId xmlns:p14="http://schemas.microsoft.com/office/powerpoint/2010/main" val="97450893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2FC42A-5F5F-B8DD-BBBF-4673388CA1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F9EF5A2-E611-8521-9616-19F23FFE0D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5A19710-2238-1197-88E4-18A106167FC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E100E96-743B-953F-66B8-316D96E7D69D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(DRS) LABORATORIO – FAILOVER TEST (DRILL)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593C1702-46B8-30D6-E49A-174563F02ACC}"/>
              </a:ext>
            </a:extLst>
          </p:cNvPr>
          <p:cNvSpPr txBox="1"/>
          <p:nvPr/>
        </p:nvSpPr>
        <p:spPr>
          <a:xfrm>
            <a:off x="908239" y="1920293"/>
            <a:ext cx="8642855" cy="427809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" sz="2400" b="1" dirty="0">
                <a:solidFill>
                  <a:srgbClr val="000000"/>
                </a:solidFill>
              </a:rPr>
              <a:t>Punto de control 1 - Actualización a V2 (N Virginia)</a:t>
            </a:r>
          </a:p>
          <a:p>
            <a:endParaRPr lang="es-ES" sz="2400" b="1" dirty="0">
              <a:solidFill>
                <a:srgbClr val="000000"/>
              </a:solidFill>
            </a:endParaRPr>
          </a:p>
          <a:p>
            <a:r>
              <a:rPr lang="pt-BR" sz="1400" b="1" dirty="0">
                <a:solidFill>
                  <a:srgbClr val="000000"/>
                </a:solidFill>
              </a:rPr>
              <a:t>echo "&lt;h1&gt;Hello from EC2 $(hostname) - V2&lt;/h1&gt;" | sudo tee /var/www/html/index.html</a:t>
            </a:r>
          </a:p>
          <a:p>
            <a:endParaRPr lang="es-ES" sz="2400" b="1" dirty="0">
              <a:solidFill>
                <a:srgbClr val="000000"/>
              </a:solidFill>
            </a:endParaRPr>
          </a:p>
          <a:p>
            <a:endParaRPr lang="es-ES" sz="2400" b="1" dirty="0">
              <a:solidFill>
                <a:srgbClr val="000000"/>
              </a:solidFill>
            </a:endParaRPr>
          </a:p>
          <a:p>
            <a:r>
              <a:rPr lang="es-ES" sz="2400" b="1" dirty="0">
                <a:solidFill>
                  <a:srgbClr val="000000"/>
                </a:solidFill>
              </a:rPr>
              <a:t>Monitoreo: </a:t>
            </a:r>
            <a:r>
              <a:rPr lang="es-ES" sz="2400" dirty="0">
                <a:solidFill>
                  <a:srgbClr val="000000"/>
                </a:solidFill>
              </a:rPr>
              <a:t>AWS Console – Recovery Job History</a:t>
            </a:r>
          </a:p>
          <a:p>
            <a:endParaRPr lang="es-ES" sz="2400" dirty="0">
              <a:solidFill>
                <a:srgbClr val="000000"/>
              </a:solidFill>
            </a:endParaRPr>
          </a:p>
          <a:p>
            <a:r>
              <a:rPr lang="es-ES" sz="2400" b="1" dirty="0">
                <a:solidFill>
                  <a:srgbClr val="000000"/>
                </a:solidFill>
              </a:rPr>
              <a:t>Prueba cerrada – </a:t>
            </a:r>
            <a:r>
              <a:rPr lang="es-ES" sz="2400" b="1" dirty="0" err="1">
                <a:solidFill>
                  <a:srgbClr val="000000"/>
                </a:solidFill>
              </a:rPr>
              <a:t>Clean</a:t>
            </a:r>
            <a:r>
              <a:rPr lang="es-ES" sz="2400" b="1" dirty="0">
                <a:solidFill>
                  <a:srgbClr val="000000"/>
                </a:solidFill>
              </a:rPr>
              <a:t> up</a:t>
            </a:r>
          </a:p>
          <a:p>
            <a:endParaRPr lang="es-ES" sz="2400" dirty="0">
              <a:solidFill>
                <a:srgbClr val="000000"/>
              </a:solidFill>
            </a:endParaRPr>
          </a:p>
          <a:p>
            <a:r>
              <a:rPr lang="es-CO" sz="2400" b="1" dirty="0"/>
              <a:t>Terminate </a:t>
            </a:r>
            <a:r>
              <a:rPr lang="es-CO" sz="2400" b="1" dirty="0" err="1"/>
              <a:t>recovery</a:t>
            </a:r>
            <a:r>
              <a:rPr lang="es-CO" sz="2400" b="1" dirty="0"/>
              <a:t> instance</a:t>
            </a:r>
          </a:p>
          <a:p>
            <a:endParaRPr lang="es-CO" sz="2400" b="1" dirty="0">
              <a:solidFill>
                <a:srgbClr val="000000"/>
              </a:solidFill>
            </a:endParaRPr>
          </a:p>
          <a:p>
            <a:r>
              <a:rPr lang="es-CO" sz="2400" b="1" dirty="0">
                <a:solidFill>
                  <a:srgbClr val="000000"/>
                </a:solidFill>
                <a:highlight>
                  <a:srgbClr val="FFFF00"/>
                </a:highlight>
              </a:rPr>
              <a:t>XXXX Terminar los otros pasos, o mejor pegar la tabla</a:t>
            </a:r>
            <a:endParaRPr lang="es-ES" sz="2400" b="1" dirty="0">
              <a:solidFill>
                <a:srgbClr val="000000"/>
              </a:solidFill>
              <a:highlight>
                <a:srgbClr val="FFFF00"/>
              </a:highlight>
            </a:endParaRP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63EC8A6A-2EAE-5019-A0C0-5F3A6C3686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16304" y="1540824"/>
            <a:ext cx="1981035" cy="846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866776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EF0DEC-0551-D98B-7DC6-D926F7B72C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CFEEBDD-7D9C-0EE3-61EF-FB25BA9B6F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09E2C93-A583-1516-715E-88FFB492B10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D4B47BE-9E32-7CAE-8E92-343120F613BD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(DRS) LABORATORIO – FAILOVER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8FA44D12-B6A4-E171-E1E2-33524969C7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62015" y="1496982"/>
            <a:ext cx="1735324" cy="933067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2FB79356-4EEB-ED27-1F72-8E3670998B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8619" y="2235478"/>
            <a:ext cx="10135121" cy="1054154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93A7B90B-059E-D82D-0053-3D152814D1B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0738" y="3376790"/>
            <a:ext cx="10450882" cy="1553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887147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327CCB-4824-CBCF-D290-11582EDEF1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8DDA7BD-CA7F-2874-730E-4976114FDC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496B766-CA05-7416-072C-4141318B8D7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868EFD2-E35A-1922-41B7-74891D68FEE5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(DRS) LABORATORIO – MANUALIDADES (Terraform)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846D867F-9E64-15BF-C941-E46EB52D3E94}"/>
              </a:ext>
            </a:extLst>
          </p:cNvPr>
          <p:cNvSpPr txBox="1"/>
          <p:nvPr/>
        </p:nvSpPr>
        <p:spPr>
          <a:xfrm>
            <a:off x="1190075" y="1854317"/>
            <a:ext cx="8642855" cy="452431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" b="1" dirty="0">
                <a:solidFill>
                  <a:srgbClr val="000000"/>
                </a:solidFill>
              </a:rPr>
              <a:t>INICIALIZACIÓN INICIAL DRS EN LA CONSOLA</a:t>
            </a:r>
          </a:p>
          <a:p>
            <a:endParaRPr lang="es-ES" b="1" dirty="0">
              <a:solidFill>
                <a:srgbClr val="000000"/>
              </a:solidFill>
            </a:endParaRPr>
          </a:p>
          <a:p>
            <a:r>
              <a:rPr lang="es-ES" b="1" dirty="0">
                <a:solidFill>
                  <a:srgbClr val="000000"/>
                </a:solidFill>
              </a:rPr>
              <a:t>IAM ROLE PERMISSION POLICIES</a:t>
            </a:r>
          </a:p>
          <a:p>
            <a:endParaRPr lang="es-ES" b="1" dirty="0">
              <a:solidFill>
                <a:srgbClr val="000000"/>
              </a:solidFill>
            </a:endParaRPr>
          </a:p>
          <a:p>
            <a:r>
              <a:rPr lang="es-ES" b="1" dirty="0">
                <a:solidFill>
                  <a:srgbClr val="000000"/>
                </a:solidFill>
              </a:rPr>
              <a:t>LAUNCH TEMPLATE: seleccionar en ambas regiones</a:t>
            </a:r>
          </a:p>
          <a:p>
            <a:endParaRPr lang="es-ES" b="1" dirty="0">
              <a:solidFill>
                <a:srgbClr val="000000"/>
              </a:solidFill>
            </a:endParaRPr>
          </a:p>
          <a:p>
            <a:r>
              <a:rPr lang="es-ES" b="1" dirty="0" err="1">
                <a:solidFill>
                  <a:srgbClr val="000000"/>
                </a:solidFill>
              </a:rPr>
              <a:t>Clean</a:t>
            </a:r>
            <a:r>
              <a:rPr lang="es-ES" b="1" dirty="0">
                <a:solidFill>
                  <a:srgbClr val="000000"/>
                </a:solidFill>
              </a:rPr>
              <a:t> up destroy:</a:t>
            </a:r>
          </a:p>
          <a:p>
            <a:r>
              <a:rPr lang="es-ES" b="1" dirty="0">
                <a:solidFill>
                  <a:srgbClr val="000000"/>
                </a:solidFill>
              </a:rPr>
              <a:t>	</a:t>
            </a:r>
            <a:r>
              <a:rPr lang="es-ES" b="1" dirty="0" err="1">
                <a:solidFill>
                  <a:srgbClr val="000000"/>
                </a:solidFill>
              </a:rPr>
              <a:t>Disconnect</a:t>
            </a:r>
            <a:r>
              <a:rPr lang="es-ES" b="1" dirty="0">
                <a:solidFill>
                  <a:srgbClr val="000000"/>
                </a:solidFill>
              </a:rPr>
              <a:t> </a:t>
            </a:r>
            <a:r>
              <a:rPr lang="es-ES" b="1" dirty="0" err="1">
                <a:solidFill>
                  <a:srgbClr val="000000"/>
                </a:solidFill>
              </a:rPr>
              <a:t>source</a:t>
            </a:r>
            <a:r>
              <a:rPr lang="es-ES" b="1" dirty="0">
                <a:solidFill>
                  <a:srgbClr val="000000"/>
                </a:solidFill>
              </a:rPr>
              <a:t> server (DRS) – </a:t>
            </a:r>
            <a:r>
              <a:rPr lang="es-ES" b="1" dirty="0" err="1">
                <a:solidFill>
                  <a:srgbClr val="000000"/>
                </a:solidFill>
              </a:rPr>
              <a:t>Delete</a:t>
            </a:r>
            <a:r>
              <a:rPr lang="es-ES" b="1" dirty="0">
                <a:solidFill>
                  <a:srgbClr val="000000"/>
                </a:solidFill>
              </a:rPr>
              <a:t> server (DRS)</a:t>
            </a:r>
          </a:p>
          <a:p>
            <a:r>
              <a:rPr lang="es-ES" b="1" dirty="0">
                <a:solidFill>
                  <a:srgbClr val="000000"/>
                </a:solidFill>
              </a:rPr>
              <a:t>	</a:t>
            </a:r>
            <a:r>
              <a:rPr lang="es-ES" b="1" dirty="0" err="1">
                <a:solidFill>
                  <a:srgbClr val="000000"/>
                </a:solidFill>
              </a:rPr>
              <a:t>Delete</a:t>
            </a:r>
            <a:r>
              <a:rPr lang="es-ES" b="1" dirty="0">
                <a:solidFill>
                  <a:srgbClr val="000000"/>
                </a:solidFill>
              </a:rPr>
              <a:t>:</a:t>
            </a:r>
          </a:p>
          <a:p>
            <a:r>
              <a:rPr lang="es-ES" b="1" dirty="0">
                <a:solidFill>
                  <a:srgbClr val="000000"/>
                </a:solidFill>
              </a:rPr>
              <a:t>		</a:t>
            </a:r>
            <a:r>
              <a:rPr lang="en-US" b="1" dirty="0">
                <a:solidFill>
                  <a:srgbClr val="000000"/>
                </a:solidFill>
              </a:rPr>
              <a:t>Replication Server Security Group</a:t>
            </a:r>
          </a:p>
          <a:p>
            <a:r>
              <a:rPr lang="en-US" b="1" dirty="0">
                <a:solidFill>
                  <a:srgbClr val="000000"/>
                </a:solidFill>
              </a:rPr>
              <a:t>		Conversion Server Security Group</a:t>
            </a:r>
          </a:p>
          <a:p>
            <a:r>
              <a:rPr lang="en-US" b="1" dirty="0">
                <a:solidFill>
                  <a:srgbClr val="000000"/>
                </a:solidFill>
              </a:rPr>
              <a:t>		</a:t>
            </a:r>
            <a:endParaRPr lang="es-ES" b="1" dirty="0">
              <a:solidFill>
                <a:srgbClr val="000000"/>
              </a:solidFill>
            </a:endParaRPr>
          </a:p>
          <a:p>
            <a:r>
              <a:rPr lang="es-ES" b="1" dirty="0">
                <a:solidFill>
                  <a:srgbClr val="000000"/>
                </a:solidFill>
              </a:rPr>
              <a:t>	retirar </a:t>
            </a:r>
            <a:r>
              <a:rPr lang="es-ES" b="1" dirty="0" err="1">
                <a:solidFill>
                  <a:srgbClr val="000000"/>
                </a:solidFill>
              </a:rPr>
              <a:t>permission</a:t>
            </a:r>
            <a:r>
              <a:rPr lang="es-ES" b="1" dirty="0">
                <a:solidFill>
                  <a:srgbClr val="000000"/>
                </a:solidFill>
              </a:rPr>
              <a:t> </a:t>
            </a:r>
            <a:r>
              <a:rPr lang="es-ES" b="1" dirty="0" err="1">
                <a:solidFill>
                  <a:srgbClr val="000000"/>
                </a:solidFill>
              </a:rPr>
              <a:t>policies</a:t>
            </a:r>
            <a:r>
              <a:rPr lang="es-ES" b="1" dirty="0">
                <a:solidFill>
                  <a:srgbClr val="000000"/>
                </a:solidFill>
              </a:rPr>
              <a:t> del rol IAM</a:t>
            </a:r>
          </a:p>
          <a:p>
            <a:r>
              <a:rPr lang="es-ES" b="1" dirty="0">
                <a:solidFill>
                  <a:srgbClr val="000000"/>
                </a:solidFill>
              </a:rPr>
              <a:t>	</a:t>
            </a:r>
            <a:r>
              <a:rPr lang="es-ES" b="1" dirty="0" err="1">
                <a:solidFill>
                  <a:srgbClr val="000000"/>
                </a:solidFill>
              </a:rPr>
              <a:t>source</a:t>
            </a:r>
            <a:r>
              <a:rPr lang="es-ES" b="1" dirty="0">
                <a:solidFill>
                  <a:srgbClr val="000000"/>
                </a:solidFill>
              </a:rPr>
              <a:t> server: stop </a:t>
            </a:r>
            <a:r>
              <a:rPr lang="es-ES" b="1" dirty="0" err="1">
                <a:solidFill>
                  <a:srgbClr val="000000"/>
                </a:solidFill>
              </a:rPr>
              <a:t>replication</a:t>
            </a:r>
            <a:r>
              <a:rPr lang="es-ES" b="1" dirty="0">
                <a:solidFill>
                  <a:srgbClr val="000000"/>
                </a:solidFill>
              </a:rPr>
              <a:t>, </a:t>
            </a:r>
          </a:p>
          <a:p>
            <a:endParaRPr lang="es-ES" b="1" dirty="0">
              <a:solidFill>
                <a:srgbClr val="000000"/>
              </a:solidFill>
            </a:endParaRPr>
          </a:p>
          <a:p>
            <a:endParaRPr lang="es-ES" sz="2400" b="1" dirty="0">
              <a:solidFill>
                <a:srgbClr val="000000"/>
              </a:solidFill>
            </a:endParaRPr>
          </a:p>
        </p:txBody>
      </p:sp>
      <p:graphicFrame>
        <p:nvGraphicFramePr>
          <p:cNvPr id="2" name="Tabla 1">
            <a:extLst>
              <a:ext uri="{FF2B5EF4-FFF2-40B4-BE49-F238E27FC236}">
                <a16:creationId xmlns:a16="http://schemas.microsoft.com/office/drawing/2014/main" id="{19FC6F1A-2719-EB8F-6022-EC293D99F3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6889418"/>
              </p:ext>
            </p:extLst>
          </p:nvPr>
        </p:nvGraphicFramePr>
        <p:xfrm>
          <a:off x="714087" y="4507971"/>
          <a:ext cx="10515600" cy="640080"/>
        </p:xfrm>
        <a:graphic>
          <a:graphicData uri="http://schemas.openxmlformats.org/drawingml/2006/table">
            <a:tbl>
              <a:tblPr/>
              <a:tblGrid>
                <a:gridCol w="5257800">
                  <a:extLst>
                    <a:ext uri="{9D8B030D-6E8A-4147-A177-3AD203B41FA5}">
                      <a16:colId xmlns:a16="http://schemas.microsoft.com/office/drawing/2014/main" val="1406158329"/>
                    </a:ext>
                  </a:extLst>
                </a:gridCol>
                <a:gridCol w="5257800">
                  <a:extLst>
                    <a:ext uri="{9D8B030D-6E8A-4147-A177-3AD203B41FA5}">
                      <a16:colId xmlns:a16="http://schemas.microsoft.com/office/drawing/2014/main" val="189560351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>
                          <a:effectLst/>
                        </a:rPr>
                        <a:t>AWS Elastic Disaster Recovery default Replication Server Security Group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FB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 lang="es-CO" dirty="0">
                        <a:effectLst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FB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0597887"/>
                  </a:ext>
                </a:extLst>
              </a:tr>
            </a:tbl>
          </a:graphicData>
        </a:graphic>
      </p:graphicFrame>
      <p:sp>
        <p:nvSpPr>
          <p:cNvPr id="7" name="Rectangle 1">
            <a:extLst>
              <a:ext uri="{FF2B5EF4-FFF2-40B4-BE49-F238E27FC236}">
                <a16:creationId xmlns:a16="http://schemas.microsoft.com/office/drawing/2014/main" id="{77F09744-B08C-135C-6F14-073AA119C3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4087" y="450813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s-CO" altLang="es-CO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s-CO" altLang="es-CO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215026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044470-BA1F-3784-E1F9-FD703A2443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55686FA-73B9-F7F6-9027-2BD0B0E425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BEF4104-4D9D-7B36-B273-CDEC31A85B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C78BE8F-3D29-C4AD-5533-48382FB08B4D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(DRS) LABORATORIO – Comandos de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troubleshooting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51681D13-6160-CA0B-6318-B2C41B7D9218}"/>
              </a:ext>
            </a:extLst>
          </p:cNvPr>
          <p:cNvSpPr txBox="1"/>
          <p:nvPr/>
        </p:nvSpPr>
        <p:spPr>
          <a:xfrm>
            <a:off x="1190075" y="1854317"/>
            <a:ext cx="8642855" cy="147732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" b="1" dirty="0" err="1">
                <a:solidFill>
                  <a:srgbClr val="000000"/>
                </a:solidFill>
              </a:rPr>
              <a:t>Sdsdfsd</a:t>
            </a:r>
            <a:endParaRPr lang="es-ES" b="1" dirty="0">
              <a:solidFill>
                <a:srgbClr val="000000"/>
              </a:solidFill>
            </a:endParaRPr>
          </a:p>
          <a:p>
            <a:endParaRPr lang="es-ES" b="1" dirty="0">
              <a:solidFill>
                <a:srgbClr val="000000"/>
              </a:solidFill>
            </a:endParaRPr>
          </a:p>
          <a:p>
            <a:endParaRPr lang="es-ES" b="1" dirty="0">
              <a:solidFill>
                <a:srgbClr val="000000"/>
              </a:solidFill>
            </a:endParaRPr>
          </a:p>
          <a:p>
            <a:endParaRPr lang="es-ES" b="1" dirty="0">
              <a:solidFill>
                <a:srgbClr val="000000"/>
              </a:solidFill>
            </a:endParaRPr>
          </a:p>
          <a:p>
            <a:endParaRPr lang="es-ES" sz="24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280069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7A6064-BEAA-0F96-85D4-742120F751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D029B42-7EDF-2655-7876-F7C8F154AA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7BC1D27-77CE-F121-46A5-32583B7CA53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318CA37-B4FB-0F4A-FC67-F57C72C76F9B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(DRS) LABORATORIO – Manejo con el cliente (Test vs Desastre real)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DF0CE10E-D12A-968A-A9A4-10E7167BCD7D}"/>
              </a:ext>
            </a:extLst>
          </p:cNvPr>
          <p:cNvSpPr txBox="1"/>
          <p:nvPr/>
        </p:nvSpPr>
        <p:spPr>
          <a:xfrm>
            <a:off x="1190075" y="1854317"/>
            <a:ext cx="8642855" cy="147732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" b="1" dirty="0" err="1">
                <a:solidFill>
                  <a:srgbClr val="000000"/>
                </a:solidFill>
              </a:rPr>
              <a:t>Sdsdfsd</a:t>
            </a:r>
            <a:endParaRPr lang="es-ES" b="1" dirty="0">
              <a:solidFill>
                <a:srgbClr val="000000"/>
              </a:solidFill>
            </a:endParaRPr>
          </a:p>
          <a:p>
            <a:endParaRPr lang="es-ES" b="1" dirty="0">
              <a:solidFill>
                <a:srgbClr val="000000"/>
              </a:solidFill>
            </a:endParaRPr>
          </a:p>
          <a:p>
            <a:endParaRPr lang="es-ES" b="1" dirty="0">
              <a:solidFill>
                <a:srgbClr val="000000"/>
              </a:solidFill>
            </a:endParaRPr>
          </a:p>
          <a:p>
            <a:endParaRPr lang="es-ES" b="1" dirty="0">
              <a:solidFill>
                <a:srgbClr val="000000"/>
              </a:solidFill>
            </a:endParaRPr>
          </a:p>
          <a:p>
            <a:endParaRPr lang="es-ES" sz="24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80809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239EA3-0D91-8DB9-D829-BCBE7D872F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43E0568-1F69-4061-2A4D-9D88E7D5CA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88CCEE4-FBB0-BEF5-76FF-5F05E4FE78E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5181444-D35C-8033-8A51-807609034550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Elastic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Disaster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Recovery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(DRS) – Propósito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53DB9508-1CBE-BDC6-F681-F8F1F22C5F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38750" y="1600621"/>
            <a:ext cx="5644144" cy="2849844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9B2680A5-E15B-0AAF-5889-CE56CAEF8C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92715" y="4679486"/>
            <a:ext cx="4336214" cy="1502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36232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FDFF4F-A23B-0A60-AA24-D524ADBCC5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3AEBB27-3AEB-D47D-83B4-83E62C7A11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A8BA1CA-92EE-858B-4F37-04222EF34F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26D5D81-A7D0-7E7E-E5B1-8FAB87B5EDA8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Elastic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Disaster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Recovery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(DRS) – Beneficios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CDB71152-E637-DFEC-D14F-1E3AD4009D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5700" y="2777706"/>
            <a:ext cx="3462320" cy="1871924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8B9FBFE4-7365-7ABA-9DD4-DA3AA10E3E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94420" y="2771463"/>
            <a:ext cx="3552382" cy="1839716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C2E3AC1C-BCA5-7CCB-2885-0C1C0C5265D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14456" y="2771463"/>
            <a:ext cx="3188174" cy="1839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4771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0A29F0-D396-B6DB-C757-2E18930C06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9F13BDE-9A11-3ED7-ED05-DCBAD13F0B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27C39F1-7C7B-28D9-5ADD-7DA055A438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59299E3-B56B-DE36-076B-FBE286BBAFB9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Elastic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Disaster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Recovery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(DRS) – Arquitectura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7A2E229E-1F58-CA19-5EB0-D47128A79D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44753" y="1730697"/>
            <a:ext cx="8621920" cy="4356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58842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3AA372-F0DA-47D4-15C4-368109139C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2BBC25F-3175-0D5E-35D4-D60DFA60F5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DBB5EC3-DD67-AB46-615F-C89DF7BC66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2F87601-0BC3-9E07-DF6B-EAEA0215DAD9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Elastic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Disaster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Recovery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(DRS) – Arquitectura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C4E59D06-7FE3-D85B-8A76-D0D81FBD9F0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39290" y="1561958"/>
            <a:ext cx="8353616" cy="4700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46281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BFED16-9141-F446-6375-2B44141ECA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CDC777B-F5FB-A695-4E9C-917CEA5479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0D29440-A4E6-3928-FC29-C2A941D5CF6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F774F55-A4ED-C293-1B19-A486062EF15B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Elastic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Disaster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Recovery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(DRS) – Operación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E2A2C3C1-E980-4FA2-CEA1-29779E34C1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97751" y="1478742"/>
            <a:ext cx="8715924" cy="483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5159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FFAAFD-AC09-C94A-6221-BFFBAE5705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2C4BAF1-1074-0679-F3CB-422726EF4F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558D1A5-81BF-36D5-AA91-183AD28D17D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D1A1DBD-A315-A584-CC62-E4E05332EEFD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Elastic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Disaster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Recovery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(DRS) – Operación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D54BC5FA-4ACF-E15E-8809-2DF2652BF3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90064" y="1475118"/>
            <a:ext cx="8689106" cy="4842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18588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13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%1&lt;/m_strFormatTime&gt;&lt;m_yearfmt&gt;&lt;begin val=&quot;4&quot;/&gt;&lt;end val=&quot;4&quot;/&gt;&lt;/m_yearfmt&gt;&lt;/m_precDefaultQuarter&gt;&lt;m_precDefaultMonth&gt;&lt;m_bNumberIsYear val=&quot;0&quot;/&gt;&lt;m_strFormatTime&gt;%B&lt;/m_strFormatTime&gt;&lt;m_yearfmt&gt;&lt;begin val=&quot;4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2&quot;&gt;&lt;elem m_fUsage=&quot;4.68559000000000036579E+00&quot;&gt;&lt;m_msothmcolidx val=&quot;0&quot;/&gt;&lt;m_rgb r=&quot;FF&quot; g=&quot;41&quot; b=&quot;00&quot;/&gt;&lt;m_nBrightness tagver0=&quot;26206&quot; tagname0=&quot;m_nBrightnessUNRECOGNIZED&quot; val=&quot;0&quot;/&gt;&lt;/elem&gt;&lt;elem m_fUsage=&quot;1.00973789999999996603E+00&quot;&gt;&lt;m_msothmcolidx val=&quot;0&quot;/&gt;&lt;m_rgb r=&quot;E6&quot; g=&quot;E6&quot; b=&quot;E6&quot;/&gt;&lt;m_nBrightness tagver0=&quot;26206&quot; tagname0=&quot;m_nBrightnessUNRECOGNIZED&quot; val=&quot;0&quot;/&gt;&lt;/elem&gt;&lt;elem m_fUsage=&quot;8.17887699000000023553E-01&quot;&gt;&lt;m_msothmcolidx val=&quot;0&quot;/&gt;&lt;m_rgb r=&quot;04&quot; g=&quot;82&quot; b=&quot;FF&quot;/&gt;&lt;m_nBrightness tagver0=&quot;26206&quot; tagname0=&quot;m_nBrightnessUNRECOGNIZED&quot; val=&quot;0&quot;/&gt;&lt;/elem&gt;&lt;elem m_fUsage=&quot;7.86732892526108895659E-01&quot;&gt;&lt;m_msothmcolidx val=&quot;0&quot;/&gt;&lt;m_rgb r=&quot;EA&quot; g=&quot;5B&quot; b=&quot;0C&quot;/&gt;&lt;m_nBrightness tagver0=&quot;26206&quot; tagname0=&quot;m_nBrightnessUNRECOGNIZED&quot; val=&quot;0&quot;/&gt;&lt;/elem&gt;&lt;elem m_fUsage=&quot;5.36616119313900075127E-01&quot;&gt;&lt;m_msothmcolidx val=&quot;0&quot;/&gt;&lt;m_rgb r=&quot;85&quot; g=&quot;D7&quot; b=&quot;5E&quot;/&gt;&lt;m_nBrightness tagver0=&quot;26206&quot; tagname0=&quot;m_nBrightnessUNRECOGNIZED&quot; val=&quot;0&quot;/&gt;&lt;/elem&gt;&lt;elem m_fUsage=&quot;4.83763611867299381242E-01&quot;&gt;&lt;m_msothmcolidx val=&quot;0&quot;/&gt;&lt;m_rgb r=&quot;F4&quot; g=&quot;AD&quot; b=&quot;73&quot;/&gt;&lt;m_nBrightness tagver0=&quot;26206&quot; tagname0=&quot;m_nBrightnessUNRECOGNIZED&quot; val=&quot;0&quot;/&gt;&lt;/elem&gt;&lt;elem m_fUsage=&quot;3.13810596090000171188E-01&quot;&gt;&lt;m_msothmcolidx val=&quot;0&quot;/&gt;&lt;m_rgb r=&quot;99&quot; g=&quot;AC&quot; b=&quot;F9&quot;/&gt;&lt;m_nBrightness tagver0=&quot;26206&quot; tagname0=&quot;m_nBrightnessUNRECOGNIZED&quot; val=&quot;0&quot;/&gt;&lt;/elem&gt;&lt;elem m_fUsage=&quot;2.07896079349873530440E-01&quot;&gt;&lt;m_msothmcolidx val=&quot;0&quot;/&gt;&lt;m_rgb r=&quot;FF&quot; g=&quot;00&quot; b=&quot;00&quot;/&gt;&lt;m_nBrightness tagver0=&quot;26206&quot; tagname0=&quot;m_nBrightnessUNRECOGNIZED&quot; val=&quot;0&quot;/&gt;&lt;/elem&gt;&lt;elem m_fUsage=&quot;1.50094635296999207030E-01&quot;&gt;&lt;m_msothmcolidx val=&quot;0&quot;/&gt;&lt;m_rgb r=&quot;AA&quot; g=&quot;AA&quot; b=&quot;AA&quot;/&gt;&lt;m_nBrightness tagver0=&quot;26206&quot; tagname0=&quot;m_nBrightnessUNRECOGNIZED&quot; val=&quot;0&quot;/&gt;&lt;/elem&gt;&lt;elem m_fUsage=&quot;1.21576654590569363523E-01&quot;&gt;&lt;m_msothmcolidx val=&quot;0&quot;/&gt;&lt;m_rgb r=&quot;18&quot; g=&quot;E1&quot; b=&quot;E7&quot;/&gt;&lt;m_nBrightness tagver0=&quot;26206&quot; tagname0=&quot;m_nBrightnessUNRECOGNIZED&quot; val=&quot;0&quot;/&gt;&lt;/elem&gt;&lt;elem m_fUsage=&quot;8.86293811965250810658E-02&quot;&gt;&lt;m_msothmcolidx val=&quot;0&quot;/&gt;&lt;m_rgb r=&quot;C0&quot; g=&quot;00&quot; b=&quot;00&quot;/&gt;&lt;m_nBrightness tagver0=&quot;26206&quot; tagname0=&quot;m_nBrightnessUNRECOGNIZED&quot; val=&quot;0&quot;/&gt;&lt;/elem&gt;&lt;elem m_fUsage=&quot;7.97664430768725701837E-02&quot;&gt;&lt;m_msothmcolidx val=&quot;0&quot;/&gt;&lt;m_rgb r=&quot;1E&quot; g=&quot;26&quot; b=&quot;32&quot;/&gt;&lt;m_nBrightness tagver0=&quot;26206&quot; tagname0=&quot;m_nBrightnessUNRECOGNIZED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54d47TS5ibEhIbSr7kn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AJqsFUSq.V3SMxYcJB1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qXwVQaR9yVcaxlKy43N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9NAOyZSW6yneZbPbOB3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HQDOg3TyS7YzqF8TUNN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dfkC8fR_WCDebEVKnE0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7q3LvyQKKL6O6uU5KWh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hK2LcrRZu6gFpHsE4kN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kDNDPnSLizv3.gMUT8.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TUJ4Q6TgaitrWEFagtL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wotwE6THidE2qUtYswf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lldkA15T4KECXb8YGrdK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VS9e74Siql4LUylTm7d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O47QKOQX.bbq6dfBiT4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zq_.zlQu.ftg5N4H2aI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OS7g.oTaiqq8mFvOiam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qqAJ5bSDmPyXOi8mlbN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54d47TS5ibEhIbSr7kn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lldkA15T4KECXb8YGrdK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MOwPLBQo2Vno6UlzkS0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jcc0geT4SANJf_k9qJp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MOwPLBQo2Vno6UlzkS0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oBqlCYRx61biPUpCVr4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.yKiosQiywuLQuciWyR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I7s1gKR6.v6GyInBaLw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243nTIS6KSaC88AqDNn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_i0RrWRxW1NHAXvIRES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rcfeqdTrWwkhDNf7vBg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JgQ0hoSOGbQWGDqWGkU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49Bwm.R9ejUfnzKgjJv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vj4RqCL0KCh1MRQYS9G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3dGC_TZSsmElUh.ZR_yu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sa0nzVwk62wdahEirAF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jcc0geT4SANJf_k9qJp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EHCvSfTkakid5vcYHO3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AJqsFUSq.V3SMxYcJB1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qXwVQaR9yVcaxlKy43N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9NAOyZSW6yneZbPbOB3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HQDOg3TyS7YzqF8TUNN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dfkC8fR_WCDebEVKnE0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7q3LvyQKKL6O6uU5KWh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hK2LcrRZu6gFpHsE4kN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kDNDPnSLizv3.gMUT8.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TUJ4Q6TgaitrWEFagtL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oBqlCYRx61biPUpCVr4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wotwE6THidE2qUtYswf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VS9e74Siql4LUylTm7d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O47QKOQX.bbq6dfBiT4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KfbW9BSGeDrUgboXDP7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BZnDl8pSk.ncTCjyP4iP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zq_.zlQu.ftg5N4H2aI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OS7g.oTaiqq8mFvOiam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qqAJ5bSDmPyXOi8mlbN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54d47TS5ibEhIbSr7kn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.yKiosQiywuLQuciWyR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lldkA15T4KECXb8YGrdK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MOwPLBQo2Vno6UlzkS0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jcc0geT4SANJf_k9qJp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oBqlCYRx61biPUpCVr4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.yKiosQiywuLQuciWyR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I7s1gKR6.v6GyInBaLw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243nTIS6KSaC88AqDNn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_i0RrWRxW1NHAXvIRES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rcfeqdTrWwkhDNf7vBg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JgQ0hoSOGbQWGDqWGkU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I7s1gKR6.v6GyInBaLw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49Bwm.R9ejUfnzKgjJv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vj4RqCL0KCh1MRQYS9G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3dGC_TZSsmElUh.ZR_yu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sa0nzVwk62wdahEirAF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EHCvSfTkakid5vcYHO3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AJqsFUSq.V3SMxYcJB1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qXwVQaR9yVcaxlKy43N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9NAOyZSW6yneZbPbOB3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HQDOg3TyS7YzqF8TUNNA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dfkC8fR_WCDebEVKnE0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7q3LvyQKKL6O6uU5KWh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243nTIS6KSaC88AqDNn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hK2LcrRZu6gFpHsE4kN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kDNDPnSLizv3.gMUT8.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TUJ4Q6TgaitrWEFagtL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wotwE6THidE2qUtYswf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VS9e74Siql4LUylTm7d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BZnDl8pSk.ncTCjyP4iP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KfbW9BSGeDrUgboXDP7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_i0RrWRxW1NHAXvIRES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rcfeqdTrWwkhDNf7vBg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JgQ0hoSOGbQWGDqWGkU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49Bwm.R9ejUfnzKgjJv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vj4RqCL0KCh1MRQYS9G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3dGC_TZSsmElUh.ZR_yu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sa0nzVwk62wdahEirAF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EHCvSfTkakid5vcYHO3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zq_.zlQu.ftg5N4H2aI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AJqsFUSq.V3SMxYcJB1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qXwVQaR9yVcaxlKy43N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9NAOyZSW6yneZbPbOB3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HQDOg3TyS7YzqF8TUNN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dfkC8fR_WCDebEVKnE0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7q3LvyQKKL6O6uU5KWh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hK2LcrRZu6gFpHsE4kN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kDNDPnSLizv3.gMUT8.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TUJ4Q6TgaitrWEFagtL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wotwE6THidE2qUtYswf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OS7g.oTaiqq8mFvOiam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VS9e74Siql4LUylTm7d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O47QKOQX.bbq6dfBiT4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zq_.zlQu.ftg5N4H2aI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OS7g.oTaiqq8mFvOiam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qqAJ5bSDmPyXOi8mlbN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54d47TS5ibEhIbSr7kn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lldkA15T4KECXb8YGrdK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MOwPLBQo2Vno6UlzkS0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jcc0geT4SANJf_k9qJp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oBqlCYRx61biPUpCVr4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qqAJ5bSDmPyXOi8mlbN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.yKiosQiywuLQuciWyR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I7s1gKR6.v6GyInBaLw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243nTIS6KSaC88AqDNn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_i0RrWRxW1NHAXvIRES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rcfeqdTrWwkhDNf7vBg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JgQ0hoSOGbQWGDqWGkU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49Bwm.R9ejUfnzKgjJv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vj4RqCL0KCh1MRQYS9G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3dGC_TZSsmElUh.ZR_yu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sa0nzVwk62wdahEirAF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EHCvSfTkakid5vcYHO3Q"/>
</p:tagLst>
</file>

<file path=ppt/theme/theme1.xml><?xml version="1.0" encoding="utf-8"?>
<a:theme xmlns:a="http://schemas.openxmlformats.org/drawingml/2006/main" name="3_LLA Strategy Theme">
  <a:themeElements>
    <a:clrScheme name="Liberty Latin America Orange">
      <a:dk1>
        <a:srgbClr val="3E3838"/>
      </a:dk1>
      <a:lt1>
        <a:srgbClr val="FFFFFF"/>
      </a:lt1>
      <a:dk2>
        <a:srgbClr val="6F6B6C"/>
      </a:dk2>
      <a:lt2>
        <a:srgbClr val="FF4100"/>
      </a:lt2>
      <a:accent1>
        <a:srgbClr val="004F9F"/>
      </a:accent1>
      <a:accent2>
        <a:srgbClr val="831F82"/>
      </a:accent2>
      <a:accent3>
        <a:srgbClr val="C2000B"/>
      </a:accent3>
      <a:accent4>
        <a:srgbClr val="FD1A16"/>
      </a:accent4>
      <a:accent5>
        <a:srgbClr val="50A028"/>
      </a:accent5>
      <a:accent6>
        <a:srgbClr val="C0C0C0"/>
      </a:accent6>
      <a:hlink>
        <a:srgbClr val="FF4100"/>
      </a:hlink>
      <a:folHlink>
        <a:srgbClr val="6F6B6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wrap="square" lIns="0" tIns="0" rIns="0" bIns="0" rtlCol="0" anchor="t" anchorCtr="0">
        <a:spAutoFit/>
      </a:bodyPr>
      <a:lstStyle>
        <a:defPPr>
          <a:defRPr sz="2400" dirty="0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T_DRAFT V1" id="{A8DCD40B-8BA5-4C32-8675-93AC37116A5D}" vid="{0EE16150-1D2F-4069-B175-411C4407A99F}"/>
    </a:ext>
  </a:extLst>
</a:theme>
</file>

<file path=ppt/theme/theme2.xml><?xml version="1.0" encoding="utf-8"?>
<a:theme xmlns:a="http://schemas.openxmlformats.org/drawingml/2006/main" name="White Master">
  <a:themeElements>
    <a:clrScheme name="RIG-2015a">
      <a:dk1>
        <a:srgbClr val="000000"/>
      </a:dk1>
      <a:lt1>
        <a:srgbClr val="FFFFFF"/>
      </a:lt1>
      <a:dk2>
        <a:srgbClr val="FFFFFF"/>
      </a:dk2>
      <a:lt2>
        <a:srgbClr val="6697C3"/>
      </a:lt2>
      <a:accent1>
        <a:srgbClr val="00529B"/>
      </a:accent1>
      <a:accent2>
        <a:srgbClr val="46A33F"/>
      </a:accent2>
      <a:accent3>
        <a:srgbClr val="E5550D"/>
      </a:accent3>
      <a:accent4>
        <a:srgbClr val="6697C3"/>
      </a:accent4>
      <a:accent5>
        <a:srgbClr val="CDCDCD"/>
      </a:accent5>
      <a:accent6>
        <a:srgbClr val="AC0000"/>
      </a:accent6>
      <a:hlink>
        <a:srgbClr val="6697C3"/>
      </a:hlink>
      <a:folHlink>
        <a:srgbClr val="969696"/>
      </a:folHlink>
    </a:clrScheme>
    <a:fontScheme name="Gartner">
      <a:majorFont>
        <a:latin typeface="Arial"/>
        <a:ea typeface="Arial Unicode MS"/>
        <a:cs typeface="Arial Unicode MS"/>
      </a:majorFont>
      <a:minorFont>
        <a:latin typeface="Arial"/>
        <a:ea typeface="Arial Unicode MS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6E96D5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solidFill>
          <a:srgbClr val="00529B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lg" len="lg"/>
        </a:ln>
        <a:effectLst/>
      </a:spPr>
      <a:bodyPr/>
      <a:lstStyle/>
    </a:lnDef>
  </a:objectDefaults>
  <a:extraClrSchemeLst/>
  <a:custClrLst>
    <a:custClr name="Gartner Blue">
      <a:srgbClr val="00529B"/>
    </a:custClr>
    <a:custClr name="Green">
      <a:srgbClr val="46A33F"/>
    </a:custClr>
    <a:custClr name="Orange">
      <a:srgbClr val="E5550D"/>
    </a:custClr>
    <a:custClr name="Gartner Blue 40%">
      <a:srgbClr val="6697C3"/>
    </a:custClr>
    <a:custClr name="Gold">
      <a:srgbClr val="FCAF17"/>
    </a:custClr>
    <a:custClr name="Purple">
      <a:srgbClr val="56129D"/>
    </a:custClr>
    <a:custClr name="Red">
      <a:srgbClr val="AC0000"/>
    </a:custClr>
    <a:custClr name="Dark Blue">
      <a:srgbClr val="00254C"/>
    </a:custClr>
    <a:custClr name="Grey 40%">
      <a:srgbClr val="666666"/>
    </a:custClr>
    <a:custClr name="Bright Blue">
      <a:srgbClr val="00A5E3"/>
    </a:custClr>
    <a:custClr name="Gartner Blue 70%">
      <a:srgbClr val="B2CBE1"/>
    </a:custClr>
    <a:custClr name="Green 70%">
      <a:srgbClr val="C7E3C5"/>
    </a:custClr>
    <a:custClr name="Orange 70%">
      <a:srgbClr val="F3CDB2"/>
    </a:custClr>
    <a:custClr name="Gartner Blue 10%">
      <a:srgbClr val="E0EAF3"/>
    </a:custClr>
    <a:custClr name="Gold 70%">
      <a:srgbClr val="FEDFA2"/>
    </a:custClr>
    <a:custClr name="Purple 70%">
      <a:srgbClr val="CCB7E1"/>
    </a:custClr>
    <a:custClr name="Red 70%">
      <a:srgbClr val="DE9999"/>
    </a:custClr>
    <a:custClr name="Dark Blue 70%">
      <a:srgbClr val="B2BDC9"/>
    </a:custClr>
    <a:custClr name="Grey 70%">
      <a:srgbClr val="B2B2B2"/>
    </a:custClr>
    <a:custClr name="Bright Blue 70%">
      <a:srgbClr val="99DBF4"/>
    </a:custClr>
    <a:custClr name="Med Blue">
      <a:srgbClr val="667C94"/>
    </a:custClr>
    <a:custClr name="Green 40%">
      <a:srgbClr val="90C88C"/>
    </a:custClr>
    <a:custClr name="Orange 40%">
      <a:srgbClr val="EF996E"/>
    </a:custClr>
    <a:custClr name="Gartner Blue 40%">
      <a:srgbClr val="A3C0DB"/>
    </a:custClr>
    <a:custClr name="Gold 40%">
      <a:srgbClr val="FDCF74"/>
    </a:custClr>
    <a:custClr name="Purple 40%">
      <a:srgbClr val="9470BA"/>
    </a:custClr>
    <a:custClr name="Red 40%">
      <a:srgbClr val="CD6666"/>
    </a:custClr>
    <a:custClr name="Dark Blue 40%">
      <a:srgbClr val="667C94"/>
    </a:custClr>
    <a:custClr name="Grey 50%">
      <a:srgbClr val="7F7F7F"/>
    </a:custClr>
    <a:custClr name="Bright Blue 40%">
      <a:srgbClr val="66C9EE"/>
    </a:custClr>
  </a:custClrLst>
  <a:extLst>
    <a:ext uri="{05A4C25C-085E-4340-85A3-A5531E510DB2}">
      <thm15:themeFamily xmlns:thm15="http://schemas.microsoft.com/office/thememl/2012/main" name="blank.potx" id="{552B451D-7F96-471F-92AC-A228F8F70D51}" vid="{70E59CB0-414E-436C-8737-828728961DC5}"/>
    </a:ext>
  </a:extLst>
</a:theme>
</file>

<file path=ppt/theme/theme3.xml><?xml version="1.0" encoding="utf-8"?>
<a:theme xmlns:a="http://schemas.openxmlformats.org/drawingml/2006/main" name="LLA Strategy Theme">
  <a:themeElements>
    <a:clrScheme name="Liberty Latin America Orange">
      <a:dk1>
        <a:srgbClr val="3E3838"/>
      </a:dk1>
      <a:lt1>
        <a:srgbClr val="FFFFFF"/>
      </a:lt1>
      <a:dk2>
        <a:srgbClr val="6F6B6C"/>
      </a:dk2>
      <a:lt2>
        <a:srgbClr val="FF4100"/>
      </a:lt2>
      <a:accent1>
        <a:srgbClr val="004F9F"/>
      </a:accent1>
      <a:accent2>
        <a:srgbClr val="831F82"/>
      </a:accent2>
      <a:accent3>
        <a:srgbClr val="C2000B"/>
      </a:accent3>
      <a:accent4>
        <a:srgbClr val="FD1A16"/>
      </a:accent4>
      <a:accent5>
        <a:srgbClr val="50A028"/>
      </a:accent5>
      <a:accent6>
        <a:srgbClr val="C0C0C0"/>
      </a:accent6>
      <a:hlink>
        <a:srgbClr val="FF4100"/>
      </a:hlink>
      <a:folHlink>
        <a:srgbClr val="6F6B6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wrap="square" lIns="0" tIns="0" rIns="0" bIns="0" rtlCol="0" anchor="t" anchorCtr="0">
        <a:spAutoFit/>
      </a:bodyPr>
      <a:lstStyle>
        <a:defPPr>
          <a:defRPr sz="2400" dirty="0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T_DRAFT V1" id="{A8DCD40B-8BA5-4C32-8675-93AC37116A5D}" vid="{0EE16150-1D2F-4069-B175-411C4407A99F}"/>
    </a:ext>
  </a:extLst>
</a:theme>
</file>

<file path=ppt/theme/theme4.xml><?xml version="1.0" encoding="utf-8"?>
<a:theme xmlns:a="http://schemas.openxmlformats.org/drawingml/2006/main" name="4_LLA Strategy Theme">
  <a:themeElements>
    <a:clrScheme name="Liberty Latin America Orange">
      <a:dk1>
        <a:srgbClr val="3E3838"/>
      </a:dk1>
      <a:lt1>
        <a:srgbClr val="FFFFFF"/>
      </a:lt1>
      <a:dk2>
        <a:srgbClr val="6F6B6C"/>
      </a:dk2>
      <a:lt2>
        <a:srgbClr val="FF4100"/>
      </a:lt2>
      <a:accent1>
        <a:srgbClr val="004F9F"/>
      </a:accent1>
      <a:accent2>
        <a:srgbClr val="831F82"/>
      </a:accent2>
      <a:accent3>
        <a:srgbClr val="C2000B"/>
      </a:accent3>
      <a:accent4>
        <a:srgbClr val="FD1A16"/>
      </a:accent4>
      <a:accent5>
        <a:srgbClr val="50A028"/>
      </a:accent5>
      <a:accent6>
        <a:srgbClr val="C0C0C0"/>
      </a:accent6>
      <a:hlink>
        <a:srgbClr val="FF4100"/>
      </a:hlink>
      <a:folHlink>
        <a:srgbClr val="6F6B6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910008"/>
        </a:solidFill>
        <a:ln>
          <a:solidFill>
            <a:srgbClr val="FFFFFF"/>
          </a:solidFill>
        </a:ln>
      </a:spPr>
      <a:bodyPr rtlCol="0" anchor="ctr"/>
      <a:lstStyle>
        <a:defPPr algn="ctr">
          <a:defRPr sz="140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square" lIns="0" tIns="0" rIns="0" bIns="0" rtlCol="0" anchor="t" anchorCtr="0">
        <a:spAutoFit/>
      </a:bodyPr>
      <a:lstStyle>
        <a:defPPr>
          <a:defRPr sz="2400" dirty="0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T_DRAFT V1" id="{A8DCD40B-8BA5-4C32-8675-93AC37116A5D}" vid="{0EE16150-1D2F-4069-B175-411C4407A99F}"/>
    </a:ext>
  </a:extLst>
</a:theme>
</file>

<file path=ppt/theme/theme5.xml><?xml version="1.0" encoding="utf-8"?>
<a:theme xmlns:a="http://schemas.openxmlformats.org/drawingml/2006/main" name="5_LLA Strategy Theme">
  <a:themeElements>
    <a:clrScheme name="Liberty Latin America Orange">
      <a:dk1>
        <a:srgbClr val="3E3838"/>
      </a:dk1>
      <a:lt1>
        <a:srgbClr val="FFFFFF"/>
      </a:lt1>
      <a:dk2>
        <a:srgbClr val="6F6B6C"/>
      </a:dk2>
      <a:lt2>
        <a:srgbClr val="FF4100"/>
      </a:lt2>
      <a:accent1>
        <a:srgbClr val="004F9F"/>
      </a:accent1>
      <a:accent2>
        <a:srgbClr val="831F82"/>
      </a:accent2>
      <a:accent3>
        <a:srgbClr val="C2000B"/>
      </a:accent3>
      <a:accent4>
        <a:srgbClr val="FD1A16"/>
      </a:accent4>
      <a:accent5>
        <a:srgbClr val="50A028"/>
      </a:accent5>
      <a:accent6>
        <a:srgbClr val="C0C0C0"/>
      </a:accent6>
      <a:hlink>
        <a:srgbClr val="FF4100"/>
      </a:hlink>
      <a:folHlink>
        <a:srgbClr val="6F6B6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wrap="square" lIns="0" tIns="0" rIns="0" bIns="0" rtlCol="0" anchor="t" anchorCtr="0">
        <a:spAutoFit/>
      </a:bodyPr>
      <a:lstStyle>
        <a:defPPr>
          <a:defRPr sz="2400" dirty="0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T_DRAFT V1" id="{A8DCD40B-8BA5-4C32-8675-93AC37116A5D}" vid="{0EE16150-1D2F-4069-B175-411C4407A99F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e77f71a-413f-484b-9072-314c75965ce9" xsi:nil="true"/>
    <lcf76f155ced4ddcb4097134ff3c332f xmlns="6d736a3b-8dca-454b-88ea-b0ea9c6b7974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527CC8E5199A14D9F4F161D64FB7355" ma:contentTypeVersion="17" ma:contentTypeDescription="Create a new document." ma:contentTypeScope="" ma:versionID="7d14d04fbcc6658184eb565afebd2a89">
  <xsd:schema xmlns:xsd="http://www.w3.org/2001/XMLSchema" xmlns:xs="http://www.w3.org/2001/XMLSchema" xmlns:p="http://schemas.microsoft.com/office/2006/metadata/properties" xmlns:ns2="6d736a3b-8dca-454b-88ea-b0ea9c6b7974" xmlns:ns3="1e77f71a-413f-484b-9072-314c75965ce9" targetNamespace="http://schemas.microsoft.com/office/2006/metadata/properties" ma:root="true" ma:fieldsID="23a4ad13265b615522a630fd038ebcea" ns2:_="" ns3:_="">
    <xsd:import namespace="6d736a3b-8dca-454b-88ea-b0ea9c6b7974"/>
    <xsd:import namespace="1e77f71a-413f-484b-9072-314c75965ce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736a3b-8dca-454b-88ea-b0ea9c6b797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677545af-7be3-4d92-8075-02a47592d6d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e77f71a-413f-484b-9072-314c75965ce9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986e9d51-3bd4-4881-b23d-f3c662218afb}" ma:internalName="TaxCatchAll" ma:showField="CatchAllData" ma:web="1e77f71a-413f-484b-9072-314c75965ce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7610FE4-A646-4430-8CEC-83455403406F}">
  <ds:schemaRefs>
    <ds:schemaRef ds:uri="1e77f71a-413f-484b-9072-314c75965ce9"/>
    <ds:schemaRef ds:uri="http://purl.org/dc/elements/1.1/"/>
    <ds:schemaRef ds:uri="6d736a3b-8dca-454b-88ea-b0ea9c6b7974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BBA52823-CCCF-4258-A9DD-7E15B7AC56F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155673C-C208-442F-BCA1-638D91D027D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d736a3b-8dca-454b-88ea-b0ea9c6b7974"/>
    <ds:schemaRef ds:uri="1e77f71a-413f-484b-9072-314c75965ce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635</TotalTime>
  <Words>671</Words>
  <Application>Microsoft Office PowerPoint</Application>
  <PresentationFormat>Panorámica</PresentationFormat>
  <Paragraphs>198</Paragraphs>
  <Slides>35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11</vt:i4>
      </vt:variant>
      <vt:variant>
        <vt:lpstr>Tema</vt:lpstr>
      </vt:variant>
      <vt:variant>
        <vt:i4>5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35</vt:i4>
      </vt:variant>
    </vt:vector>
  </HeadingPairs>
  <TitlesOfParts>
    <vt:vector size="52" baseType="lpstr">
      <vt:lpstr>MS PGothic</vt:lpstr>
      <vt:lpstr>Aptos</vt:lpstr>
      <vt:lpstr>Arial</vt:lpstr>
      <vt:lpstr>Arial MT Light</vt:lpstr>
      <vt:lpstr>Calibri</vt:lpstr>
      <vt:lpstr>Corbel</vt:lpstr>
      <vt:lpstr>Times</vt:lpstr>
      <vt:lpstr>Verdana</vt:lpstr>
      <vt:lpstr>Wingdings</vt:lpstr>
      <vt:lpstr>Wingdings 2</vt:lpstr>
      <vt:lpstr>Wingdings 3</vt:lpstr>
      <vt:lpstr>3_LLA Strategy Theme</vt:lpstr>
      <vt:lpstr>White Master</vt:lpstr>
      <vt:lpstr>LLA Strategy Theme</vt:lpstr>
      <vt:lpstr>4_LLA Strategy Theme</vt:lpstr>
      <vt:lpstr>5_LLA Strategy Theme</vt:lpstr>
      <vt:lpstr>Diapositiva de think-cell</vt:lpstr>
      <vt:lpstr>Presentación de PowerPoint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Hamilton Stewart Rodríguez Parra</cp:lastModifiedBy>
  <cp:revision>648</cp:revision>
  <cp:lastPrinted>2018-05-11T03:40:12Z</cp:lastPrinted>
  <dcterms:created xsi:type="dcterms:W3CDTF">2018-05-10T19:14:30Z</dcterms:created>
  <dcterms:modified xsi:type="dcterms:W3CDTF">2025-10-19T15:02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527CC8E5199A14D9F4F161D64FB7355</vt:lpwstr>
  </property>
  <property fmtid="{D5CDD505-2E9C-101B-9397-08002B2CF9AE}" pid="3" name="MediaServiceImageTags">
    <vt:lpwstr/>
  </property>
</Properties>
</file>